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40"/>
  </p:notesMasterIdLst>
  <p:sldIdLst>
    <p:sldId id="795" r:id="rId3"/>
    <p:sldId id="1260" r:id="rId4"/>
    <p:sldId id="1294" r:id="rId5"/>
    <p:sldId id="1292" r:id="rId6"/>
    <p:sldId id="1304" r:id="rId7"/>
    <p:sldId id="1305" r:id="rId8"/>
    <p:sldId id="1117" r:id="rId9"/>
    <p:sldId id="1303" r:id="rId10"/>
    <p:sldId id="1247" r:id="rId11"/>
    <p:sldId id="1235" r:id="rId12"/>
    <p:sldId id="1311" r:id="rId13"/>
    <p:sldId id="1142" r:id="rId14"/>
    <p:sldId id="276" r:id="rId15"/>
    <p:sldId id="1129" r:id="rId16"/>
    <p:sldId id="1308" r:id="rId17"/>
    <p:sldId id="1309" r:id="rId18"/>
    <p:sldId id="1310" r:id="rId19"/>
    <p:sldId id="1144" r:id="rId20"/>
    <p:sldId id="1283" r:id="rId21"/>
    <p:sldId id="1306" r:id="rId22"/>
    <p:sldId id="1191" r:id="rId23"/>
    <p:sldId id="1288" r:id="rId24"/>
    <p:sldId id="1295" r:id="rId25"/>
    <p:sldId id="1162" r:id="rId26"/>
    <p:sldId id="1297" r:id="rId27"/>
    <p:sldId id="1296" r:id="rId28"/>
    <p:sldId id="1298" r:id="rId29"/>
    <p:sldId id="1302" r:id="rId30"/>
    <p:sldId id="1301" r:id="rId31"/>
    <p:sldId id="1300" r:id="rId32"/>
    <p:sldId id="1289" r:id="rId33"/>
    <p:sldId id="263" r:id="rId34"/>
    <p:sldId id="1290" r:id="rId35"/>
    <p:sldId id="1312" r:id="rId36"/>
    <p:sldId id="1291" r:id="rId37"/>
    <p:sldId id="1307" r:id="rId38"/>
    <p:sldId id="796" r:id="rId39"/>
  </p:sldIdLst>
  <p:sldSz cx="12192000" cy="6858000"/>
  <p:notesSz cx="6797675" cy="9926638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082"/>
    <a:srgbClr val="45A690"/>
    <a:srgbClr val="C30C3E"/>
    <a:srgbClr val="CCE9CC"/>
    <a:srgbClr val="C3CFE1"/>
    <a:srgbClr val="2F5597"/>
    <a:srgbClr val="123163"/>
    <a:srgbClr val="CD6D63"/>
    <a:srgbClr val="E9F739"/>
    <a:srgbClr val="BA7B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063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90" y="156"/>
      </p:cViewPr>
      <p:guideLst>
        <p:guide orient="horz" pos="111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CCC32F-7F80-4C49-968A-CA05900495CE}" type="datetimeFigureOut">
              <a:rPr lang="ru-RU" smtClean="0"/>
              <a:t>18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7365"/>
            <a:ext cx="5438775" cy="390904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CFED98-4531-414D-A069-6649547230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799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595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131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5268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03343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1274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69443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65293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26086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8600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0498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6273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02795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152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1787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08230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5179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49950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07197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84721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79BB0-8FB8-4ABC-B642-D6CDAFB5E87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83752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450468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17388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846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57833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997997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897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903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7064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369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3429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7021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9E40F0-69F9-4A91-8BED-E48091FD75D7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8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AD817-DDEA-6F4E-9F31-71FBAF42769C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64835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F2B3B5-E28A-9647-BB70-5E0C58A0C5AD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698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D910B-C43C-A241-9DA4-5F11C8238DA9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3238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Group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/>
            <a:lvl1pPr lvl="0"/>
          </a:lstStyle>
          <a:p>
            <a:endParaRPr sz="1800" b="0" strike="noStrike" spc="-1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71" name="Shape 71"/>
          <p:cNvSpPr txBox="1"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/>
            <a:lvl1pPr lvl="0"/>
          </a:lstStyle>
          <a:p>
            <a:pPr algn="ctr"/>
            <a:endParaRPr sz="3200" b="0" strike="noStrike" spc="-1"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1316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AD817-DDEA-6F4E-9F31-71FBAF42769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1028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AC526-0075-9649-9977-ABB9768A63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5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2A4F8-0B2C-EE46-A689-3A974B90010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777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CD381-656A-F046-91FA-E80652DC6EB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7638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A42B-106A-7145-B425-A9AEFFD4FA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795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4B57E-0EB5-9E40-BC38-DCF0128092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7090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08F1-5B29-CA46-BF11-EE16DE29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7723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AC526-0075-9649-9977-ABB9768A6313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614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E67FC-2095-3546-A95E-8C33004B2AB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916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A376B-3DC8-0743-8CC5-3733924EE8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31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F2B3B5-E28A-9647-BB70-5E0C58A0C5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491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D910B-C43C-A241-9DA4-5F11C8238D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1918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Group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/>
            <a:lvl1pPr lvl="0"/>
          </a:lstStyle>
          <a:p>
            <a:endParaRPr sz="1800" b="0" strike="noStrike" spc="-1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71" name="Shape 71"/>
          <p:cNvSpPr txBox="1"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defPPr/>
            <a:lvl1pPr lvl="0"/>
          </a:lstStyle>
          <a:p>
            <a:pPr algn="ctr"/>
            <a:endParaRPr sz="3200" b="0" strike="noStrike" spc="-1"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4726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2A4F8-0B2C-EE46-A689-3A974B90010D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87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CD381-656A-F046-91FA-E80652DC6EBC}" type="datetime1">
              <a:rPr lang="ru-RU" smtClean="0"/>
              <a:t>18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641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A42B-106A-7145-B425-A9AEFFD4FA02}" type="datetime1">
              <a:rPr lang="ru-RU" smtClean="0"/>
              <a:t>18.10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625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4B57E-0EB5-9E40-BC38-DCF0128092DF}" type="datetime1">
              <a:rPr lang="ru-RU" smtClean="0"/>
              <a:t>18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4778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08F1-5B29-CA46-BF11-EE16DE29EC7E}" type="datetime1">
              <a:rPr lang="ru-RU" smtClean="0"/>
              <a:t>18.10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090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E67FC-2095-3546-A95E-8C33004B2AB1}" type="datetime1">
              <a:rPr lang="ru-RU" smtClean="0"/>
              <a:t>18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6515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A376B-3DC8-0743-8CC5-3733924EE8F3}" type="datetime1">
              <a:rPr lang="ru-RU" smtClean="0"/>
              <a:t>18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3323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5A694D4-DE01-4E1A-821E-03DEB3A0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79744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Слайд think-cell" r:id="rId16" imgW="411" imgH="412" progId="TCLayout.ActiveDocument.1">
                  <p:embed/>
                </p:oleObj>
              </mc:Choice>
              <mc:Fallback>
                <p:oleObj name="Слайд think-cell" r:id="rId16" imgW="411" imgH="412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E5A694D4-DE01-4E1A-821E-03DEB3A0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52DB6-D7A4-E543-8DB7-E2CA08EF210E}" type="datetime1">
              <a:rPr lang="ru-RU" smtClean="0"/>
              <a:t>18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CAA9E6-47E4-48C4-9A09-8E3CD6CB64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2225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5A694D4-DE01-4E1A-821E-03DEB3A0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Слайд think-cell" r:id="rId16" imgW="411" imgH="412" progId="TCLayout.ActiveDocument.1">
                  <p:embed/>
                </p:oleObj>
              </mc:Choice>
              <mc:Fallback>
                <p:oleObj name="Слайд think-cell" r:id="rId16" imgW="411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52DB6-D7A4-E543-8DB7-E2CA08EF210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CAA9E6-47E4-48C4-9A09-8E3CD6CB64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862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microsoft.com/office/2007/relationships/hdphoto" Target="../media/hdphoto1.wdp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2639616" cy="6858000"/>
          </a:xfrm>
          <a:prstGeom prst="rect">
            <a:avLst/>
          </a:prstGeom>
          <a:solidFill>
            <a:srgbClr val="067082"/>
          </a:solidFill>
          <a:ln>
            <a:solidFill>
              <a:srgbClr val="067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7487477" y="6309321"/>
            <a:ext cx="4704523" cy="30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3499" y="164637"/>
            <a:ext cx="5039716" cy="21122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7D4F0A-7237-4917-A46D-BA7E4EB2DF3E}"/>
              </a:ext>
            </a:extLst>
          </p:cNvPr>
          <p:cNvSpPr txBox="1"/>
          <p:nvPr/>
        </p:nvSpPr>
        <p:spPr>
          <a:xfrm>
            <a:off x="6911413" y="5335963"/>
            <a:ext cx="5280587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133" b="1" dirty="0">
                <a:latin typeface="Myriad Pro" pitchFamily="34" charset="0"/>
              </a:rPr>
              <a:t>Кузнецова Екатерина Сергеевна,</a:t>
            </a:r>
            <a:r>
              <a:rPr lang="ru-RU" sz="1600" b="1" dirty="0">
                <a:latin typeface="Myriad Pro" pitchFamily="34" charset="0"/>
              </a:rPr>
              <a:t> </a:t>
            </a:r>
          </a:p>
          <a:p>
            <a:pPr algn="r"/>
            <a:r>
              <a:rPr lang="ru-RU" sz="1600" dirty="0">
                <a:latin typeface="Myriad Pro" pitchFamily="34" charset="0"/>
              </a:rPr>
              <a:t>Заместитель начальника Управления контроля</a:t>
            </a:r>
            <a:br>
              <a:rPr lang="ru-RU" sz="1600" dirty="0">
                <a:latin typeface="Myriad Pro" pitchFamily="34" charset="0"/>
              </a:rPr>
            </a:br>
            <a:r>
              <a:rPr lang="ru-RU" sz="1600" dirty="0">
                <a:latin typeface="Myriad Pro" pitchFamily="34" charset="0"/>
              </a:rPr>
              <a:t>размещения государственного </a:t>
            </a:r>
            <a:r>
              <a:rPr lang="ru-RU" sz="1600" dirty="0" smtClean="0">
                <a:latin typeface="Myriad Pro" pitchFamily="34" charset="0"/>
              </a:rPr>
              <a:t>заказа</a:t>
            </a:r>
            <a:endParaRPr lang="ru-RU" sz="1333" dirty="0">
              <a:latin typeface="Myriad Pro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56D9EEC-DB3F-A340-FF90-498AA5F014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0" y="3332989"/>
            <a:ext cx="2702899" cy="3547071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17C4504-5B54-5444-A9D8-D90FE6D431A5}"/>
              </a:ext>
            </a:extLst>
          </p:cNvPr>
          <p:cNvSpPr/>
          <p:nvPr/>
        </p:nvSpPr>
        <p:spPr>
          <a:xfrm>
            <a:off x="2910396" y="2088967"/>
            <a:ext cx="8844879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ьные вопросы правоприменительной практики законодательства о контрактной системе. </a:t>
            </a:r>
          </a:p>
          <a:p>
            <a:pPr algn="ctr"/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АЯ ПРАКТИЧЕСКАЯ КОНФЕРЕНЦИЯ</a:t>
            </a:r>
            <a:b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РАЗВИВАЕМ ЗАКУПКИ ВМЕСТЕ»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. Анапа, 2024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5B9E966-DDA8-5785-4E26-D9DE4DBD0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16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183920"/>
            <a:ext cx="11537825" cy="1158436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08.02.2024 по делу № 28/06/105-192/2024  </a:t>
            </a:r>
          </a:p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73100003523000142,</a:t>
            </a:r>
            <a:r>
              <a:rPr lang="en-US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«вычленение» нужного вида работ из представленного договора не предусмотрено законодательством)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590237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86478" y="1541129"/>
            <a:ext cx="11537825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16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овод: </a:t>
            </a:r>
            <a:r>
              <a:rPr lang="ru-RU" sz="1600" dirty="0">
                <a:latin typeface="Times New Roman"/>
                <a:ea typeface="Times New Roman"/>
                <a:cs typeface="Times New Roman"/>
              </a:rPr>
              <a:t>Комиссией по осуществлению закупок ненадлежащим образом применен порядок оценки заявки Заявителя</a:t>
            </a:r>
            <a:br>
              <a:rPr lang="ru-RU" sz="1600" dirty="0">
                <a:latin typeface="Times New Roman"/>
                <a:ea typeface="Times New Roman"/>
                <a:cs typeface="Times New Roman"/>
              </a:rPr>
            </a:br>
            <a:r>
              <a:rPr lang="ru-RU" sz="1600" dirty="0">
                <a:latin typeface="Times New Roman"/>
                <a:ea typeface="Times New Roman"/>
                <a:cs typeface="Times New Roman"/>
              </a:rPr>
              <a:t>по детализирующему показателю.</a:t>
            </a:r>
            <a:endParaRPr lang="ru-RU" sz="1600" dirty="0">
              <a:solidFill>
                <a:srgbClr val="000000"/>
              </a:solidFill>
              <a:latin typeface="Times New Roman"/>
              <a:ea typeface="Times New Roman"/>
              <a:cs typeface="Times New Roman"/>
            </a:endParaRPr>
          </a:p>
          <a:p>
            <a:pPr indent="452438" algn="just"/>
            <a:endParaRPr lang="ru-RU" sz="1600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452438" algn="just"/>
            <a:r>
              <a:rPr lang="ru-RU" sz="16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уть: </a:t>
            </a:r>
            <a:r>
              <a:rPr lang="ru-RU" sz="1600" dirty="0">
                <a:latin typeface="Times New Roman"/>
                <a:ea typeface="Times New Roman"/>
                <a:cs typeface="Times New Roman"/>
              </a:rPr>
              <a:t>Согласно Порядку оценки по Детализирующему показателю Критерия к оценке принимается исключительно исполненный договор (договоры) на оказание услуг по проведению рекламно-информационных кампаний в информационно-коммуникационной сети интернет.</a:t>
            </a:r>
          </a:p>
          <a:p>
            <a:pPr indent="452438" algn="just"/>
            <a:r>
              <a:rPr lang="ru-RU" sz="1600" dirty="0">
                <a:latin typeface="Times New Roman"/>
                <a:ea typeface="Times New Roman"/>
                <a:cs typeface="Times New Roman"/>
              </a:rPr>
              <a:t>К перечню документов, подтверждающих наличие у участника закупки опыта выполнения работы, связанного с предметом контракта, согласно Порядку оценки относятся, в том числе: копия исполненного договора (договоров); акт (акты) приемки поставленного товара, выполненных работ, оказанных услуг, составленные при исполнении такого договора (договоров) (последний акт, составленный при исполнении договора должен быть подписан не ранее чем за 5 лет до даты окончания срока подачи заявок). </a:t>
            </a:r>
          </a:p>
          <a:p>
            <a:pPr indent="452438" algn="just"/>
            <a:r>
              <a:rPr lang="ru-RU" sz="1600" dirty="0">
                <a:latin typeface="Times New Roman"/>
                <a:ea typeface="Times New Roman"/>
                <a:cs typeface="Times New Roman"/>
              </a:rPr>
              <a:t>На заседании Комиссии представители Заявителя пояснил, что Комиссией неправомерно не учтены представленные контракты на оказание услуг сопоставимого характера, а именно: </a:t>
            </a:r>
            <a:r>
              <a:rPr lang="ru-RU" sz="1600" i="1" dirty="0">
                <a:latin typeface="Times New Roman"/>
                <a:ea typeface="Times New Roman"/>
                <a:cs typeface="Times New Roman"/>
              </a:rPr>
              <a:t>контракт по организации и проведению Комплекса мероприятий по привитию детям навыков безопасного участия в дорожном движении</a:t>
            </a:r>
            <a:r>
              <a:rPr lang="ru-RU" sz="1600" dirty="0">
                <a:latin typeface="Times New Roman"/>
                <a:ea typeface="Times New Roman"/>
                <a:cs typeface="Times New Roman"/>
              </a:rPr>
              <a:t>; </a:t>
            </a:r>
            <a:r>
              <a:rPr lang="ru-RU" sz="1600" i="1" dirty="0">
                <a:latin typeface="Times New Roman"/>
                <a:ea typeface="Times New Roman"/>
                <a:cs typeface="Times New Roman"/>
              </a:rPr>
              <a:t>контракт на оказание услуг по мероприятию «Проведены социальные кампании, направленные на привлечение внимания населения к основным факторам риска в дорожном движении и их профилактике».</a:t>
            </a:r>
          </a:p>
          <a:p>
            <a:pPr indent="452438" algn="just"/>
            <a:r>
              <a:rPr lang="ru-RU" sz="1600" dirty="0">
                <a:latin typeface="Times New Roman"/>
                <a:ea typeface="Times New Roman"/>
                <a:cs typeface="Times New Roman"/>
              </a:rPr>
              <a:t>Представитель Заказчика на заседании Комиссии пояснил, что Комиссией при рассмотрении заявки к оценке                            не приняты Контракты, поскольку они не соответствуют предмету закупки.</a:t>
            </a:r>
          </a:p>
          <a:p>
            <a:pPr indent="452438" algn="just"/>
            <a:r>
              <a:rPr lang="ru-RU" sz="1600" dirty="0">
                <a:latin typeface="Times New Roman"/>
                <a:ea typeface="Times New Roman"/>
                <a:cs typeface="Times New Roman"/>
              </a:rPr>
              <a:t>Вместе с тем </a:t>
            </a:r>
            <a:r>
              <a:rPr lang="ru-RU" sz="1600" b="1" dirty="0">
                <a:latin typeface="Times New Roman"/>
                <a:ea typeface="Times New Roman"/>
                <a:cs typeface="Times New Roman"/>
              </a:rPr>
              <a:t>Комиссией установлено, что учет части оказанных услуг в рамках исполнения представляемых договоров при оценке заявок на участие в Конкурсе не соответствует Порядку оценки,</a:t>
            </a:r>
            <a:r>
              <a:rPr lang="ru-RU" sz="1600" dirty="0">
                <a:latin typeface="Times New Roman"/>
                <a:ea typeface="Times New Roman"/>
                <a:cs typeface="Times New Roman"/>
              </a:rPr>
              <a:t> предусматривающему оценку наибольшей цены исполненного договора (контракта).</a:t>
            </a:r>
          </a:p>
        </p:txBody>
      </p:sp>
    </p:spTree>
    <p:extLst>
      <p:ext uri="{BB962C8B-B14F-4D97-AF65-F5344CB8AC3E}">
        <p14:creationId xmlns:p14="http://schemas.microsoft.com/office/powerpoint/2010/main" val="3504187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222395" y="305353"/>
            <a:ext cx="11537825" cy="819882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.04.2024 </a:t>
            </a: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елу №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8/06/105-966/2024 </a:t>
            </a:r>
          </a:p>
          <a:p>
            <a:pPr marR="6773">
              <a:spcBef>
                <a:spcPts val="333"/>
              </a:spcBef>
            </a:pP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48200005424000100, неправомерный допуск заявки</a:t>
            </a:r>
            <a:r>
              <a:rPr lang="ru-RU" sz="24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lang="ru-RU" sz="2400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22394" y="1511409"/>
            <a:ext cx="1153782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16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едмет закупки: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конструкция городских очистных сооружений канализации с выделением этапов реконструкции, по адресу: Московская обл., г. Дубна, Коммунальный проезд, д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23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(1 этап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)</a:t>
            </a:r>
            <a:endParaRPr lang="ru-RU" sz="1600" b="1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indent="452438" algn="just"/>
            <a:r>
              <a:rPr lang="ru-RU" sz="16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МЦК: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921 042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06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уб.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algn="just"/>
            <a:endParaRPr lang="ru-RU" sz="1600" b="1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algn="just"/>
            <a:r>
              <a:rPr lang="ru-RU" sz="16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ходе проведения внеплановой проверки Комиссией установлено следующее:</a:t>
            </a:r>
          </a:p>
          <a:p>
            <a:pPr algn="just"/>
            <a:endParaRPr lang="ru-RU" sz="16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indent="449263" algn="just"/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бедителем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целях подтверждения наличия опыта выполнения работ по позиции 7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иложения к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Ф № 2571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едставлен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говор подряда на выполнение работ по строительству индивидуальных жилых домов с ценой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92 501 193,44 рублей (далее – Договор), а также акты о приемке выполненных работ по отдельным объектам.</a:t>
            </a:r>
          </a:p>
          <a:p>
            <a:pPr indent="449263" algn="just"/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Исходя из положений позиции 7 приложения 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участник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закупки вправе представить опыт исполнения договора строительного подряда, предусматривающего выполнение работ по строительству, реконструкции объекта капитального строительства (за исключением линейного объекта). </a:t>
            </a:r>
          </a:p>
          <a:p>
            <a:pPr indent="449263" algn="just"/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к, Победителем представлен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говор,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и исполнении которого подрядчику необходимо выполнить строительство индивидуальных жилых домов </a:t>
            </a:r>
            <a:r>
              <a:rPr lang="ru-RU" sz="16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количестве 31 </a:t>
            </a:r>
            <a:r>
              <a:rPr lang="ru-RU" sz="16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туки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тоимость одного объекта (индивидуального жилого дома) составляет 54 596 812,69 руб.</a:t>
            </a:r>
          </a:p>
          <a:p>
            <a:pPr indent="449263" algn="just"/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огласно Извещению начальная (максимальная) цена контракта составляет 4 921 042 406 руб. Вместе с тем 30 % от НМЦК составляет 1 476 312 721,80 рублей.</a:t>
            </a:r>
          </a:p>
          <a:p>
            <a:pPr indent="449263" algn="just"/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ким образом, представленный Договор не соответствует позиции 7 приложения 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поскольку представленные сведения не подтверждают наличие опыта по выполнению соответствующих работ в отношении объекта капительного строительства с ценой не мене 30 % от НМЦК.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446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-31516"/>
            <a:ext cx="11537825" cy="1766295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25.01.2024 по делу № 28/06/105-67/2024 (0173100008723000107</a:t>
            </a:r>
            <a:r>
              <a:rPr lang="en-US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 применении порядка</a:t>
            </a:r>
            <a:b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ценки заявок </a:t>
            </a:r>
            <a:r>
              <a:rPr lang="ru-RU" sz="28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миссией не </a:t>
            </a: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тены контракты, соответствующие установленному </a:t>
            </a:r>
            <a:r>
              <a:rPr lang="ru-RU" sz="28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азчиком порядку </a:t>
            </a: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ценки)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83305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17264" y="1754015"/>
            <a:ext cx="11548087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20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едмет закупки: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на оказание услуг по сопровождению программно-аппаратной платформы серверного оборудования и СХД информационно-телекоммуникационной системы</a:t>
            </a:r>
            <a:endParaRPr lang="ru-RU" sz="1000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452438" algn="just"/>
            <a:r>
              <a:rPr lang="ru-RU" sz="20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овод: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Комиссией по осуществлению закупок не учтены, в том числе договоры на оказание услуг</a:t>
            </a:r>
            <a:br>
              <a:rPr lang="ru-RU" sz="2000" dirty="0">
                <a:latin typeface="Times New Roman"/>
                <a:ea typeface="Times New Roman"/>
                <a:cs typeface="Times New Roman"/>
              </a:rPr>
            </a:br>
            <a:r>
              <a:rPr lang="ru-RU" sz="2000" dirty="0">
                <a:latin typeface="Times New Roman"/>
                <a:ea typeface="Times New Roman"/>
                <a:cs typeface="Times New Roman"/>
              </a:rPr>
              <a:t>по обеспечению бесперебойной работы системы, на централизованное сервисное обслуживание средств связи, программно-аппаратных комплексов и инфраструктуры информационных технологий.</a:t>
            </a:r>
          </a:p>
          <a:p>
            <a:pPr indent="452438" algn="just"/>
            <a:r>
              <a:rPr lang="ru-RU" sz="2000" b="1" dirty="0">
                <a:latin typeface="Times New Roman"/>
                <a:ea typeface="Times New Roman"/>
                <a:cs typeface="Times New Roman"/>
              </a:rPr>
              <a:t>Суть: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целью оказания услуг является поддержание бесперебойного функционирования сетевой инфраструктуры, серверного оборудования, оборудования СХД, оборудования криптографической защиты информации и межсетевого экранирования, систем резервирования данных, общесистемного ПО, а также СУБД ИТКС. В соответствии с пунктом 6.4.10 ГОСТ Р ИСО/МЭК 12207-2010 процесс сопровождения программных средств является частным случаем процесса технического обслуживания. При этом цель процесса сопровождения программных средств заключается в обеспечении эффективной по затратам поддержки поставляемого программного продукта.</a:t>
            </a:r>
          </a:p>
          <a:p>
            <a:pPr indent="452438" algn="just"/>
            <a:endParaRPr lang="ru-RU" sz="1000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452438" algn="just"/>
            <a:r>
              <a:rPr lang="ru-RU" sz="20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ешение комиссии: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действия Комиссии по осуществлению закупок противоречат законодательству Российской Федерации о контрактной системе в сфере закупок.</a:t>
            </a:r>
            <a:endParaRPr lang="ru-RU" sz="2000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7605542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Picture 152"/>
          <p:cNvPicPr/>
          <p:nvPr/>
        </p:nvPicPr>
        <p:blipFill>
          <a:blip r:embed="rId3"/>
          <a:stretch/>
        </p:blipFill>
        <p:spPr>
          <a:xfrm>
            <a:off x="0" y="0"/>
            <a:ext cx="5568120" cy="6921000"/>
          </a:xfrm>
          <a:prstGeom prst="rect">
            <a:avLst/>
          </a:prstGeom>
          <a:ln w="0">
            <a:noFill/>
          </a:ln>
        </p:spPr>
      </p:pic>
      <p:sp>
        <p:nvSpPr>
          <p:cNvPr id="153" name="Shape 153"/>
          <p:cNvSpPr/>
          <p:nvPr/>
        </p:nvSpPr>
        <p:spPr>
          <a:xfrm>
            <a:off x="189720" y="157150"/>
            <a:ext cx="11802240" cy="1477328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>
            <a:spAutoFit/>
          </a:bodyPr>
          <a:lstStyle/>
          <a:p>
            <a:pPr algn="just"/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подтверждения уровня деловой репутации при установлении в порядке оценки заявок показателя «Деловая репутация» по критерию «Квалификации участников закупки»</a:t>
            </a:r>
          </a:p>
        </p:txBody>
      </p:sp>
      <p:sp>
        <p:nvSpPr>
          <p:cNvPr id="154" name="Shape 154"/>
          <p:cNvSpPr/>
          <p:nvPr/>
        </p:nvSpPr>
        <p:spPr>
          <a:xfrm>
            <a:off x="314893" y="1704401"/>
            <a:ext cx="11543040" cy="0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  <p:txBody>
          <a:bodyPr lIns="91440" tIns="45720" rIns="91440" bIns="45720"/>
          <a:lstStyle/>
          <a:p>
            <a:endParaRPr/>
          </a:p>
        </p:txBody>
      </p:sp>
      <p:sp>
        <p:nvSpPr>
          <p:cNvPr id="156" name="Shape 156"/>
          <p:cNvSpPr/>
          <p:nvPr/>
        </p:nvSpPr>
        <p:spPr>
          <a:xfrm>
            <a:off x="189720" y="1458360"/>
            <a:ext cx="11575080" cy="1220847"/>
          </a:xfrm>
          <a:prstGeom prst="rect">
            <a:avLst/>
          </a:prstGeom>
          <a:noFill/>
          <a:ln w="0">
            <a:noFill/>
          </a:ln>
        </p:spPr>
        <p:txBody>
          <a:bodyPr lIns="0" tIns="45720" rIns="91440" bIns="45720">
            <a:spAutoFit/>
          </a:bodyPr>
          <a:lstStyle/>
          <a:p>
            <a:pPr>
              <a:lnSpc>
                <a:spcPts val="2160"/>
              </a:lnSpc>
            </a:pPr>
            <a:endParaRPr spc="-1">
              <a:latin typeface="Arial"/>
              <a:ea typeface="Arial"/>
              <a:cs typeface="Arial"/>
            </a:endParaRPr>
          </a:p>
          <a:p>
            <a:pPr algn="just">
              <a:lnSpc>
                <a:spcPts val="2160"/>
              </a:lnSpc>
            </a:pPr>
            <a:endParaRPr spc="-1">
              <a:latin typeface="Arial"/>
              <a:ea typeface="Arial"/>
              <a:cs typeface="Arial"/>
            </a:endParaRPr>
          </a:p>
          <a:p>
            <a:pPr algn="just">
              <a:lnSpc>
                <a:spcPts val="2160"/>
              </a:lnSpc>
            </a:pPr>
            <a:endParaRPr spc="-1">
              <a:latin typeface="Arial"/>
              <a:ea typeface="Arial"/>
              <a:cs typeface="Arial"/>
            </a:endParaRPr>
          </a:p>
          <a:p>
            <a:pPr>
              <a:lnSpc>
                <a:spcPts val="2160"/>
              </a:lnSpc>
            </a:pPr>
            <a:endParaRPr spc="-1">
              <a:latin typeface="Arial"/>
              <a:ea typeface="Arial"/>
              <a:cs typeface="Arial"/>
            </a:endParaRPr>
          </a:p>
        </p:txBody>
      </p:sp>
      <p:sp>
        <p:nvSpPr>
          <p:cNvPr id="157" name="Shape 157"/>
          <p:cNvSpPr/>
          <p:nvPr/>
        </p:nvSpPr>
        <p:spPr>
          <a:xfrm>
            <a:off x="0" y="6489720"/>
            <a:ext cx="12260880" cy="36792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/>
          <a:lstStyle/>
          <a:p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57FE6D-5EA9-A1D1-8204-A9386159CEAD}"/>
              </a:ext>
            </a:extLst>
          </p:cNvPr>
          <p:cNvSpPr txBox="1"/>
          <p:nvPr/>
        </p:nvSpPr>
        <p:spPr>
          <a:xfrm>
            <a:off x="591220" y="2549809"/>
            <a:ext cx="1117357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Для расчета индекса деловой репутации субъектов предпринимательской деятельности применяется</a:t>
            </a:r>
            <a:b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Т Р 71198-2023. Стандарт применяется в отношении субъектов предпринимательской деятельности всех видов экономической деятельности в соответствии с ОКВЭД2.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503786-BD0C-6459-3D6A-E15A8E715A0A}"/>
              </a:ext>
            </a:extLst>
          </p:cNvPr>
          <p:cNvSpPr txBox="1"/>
          <p:nvPr/>
        </p:nvSpPr>
        <p:spPr>
          <a:xfrm>
            <a:off x="2417229" y="4120818"/>
            <a:ext cx="73575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>
                <a:solidFill>
                  <a:srgbClr val="FF0000"/>
                </a:solidFill>
              </a:rPr>
              <a:t>Чем выше индекс деловой репутации (ЭКГ-Рейтинг), тем ниже доля «проблемных» контрактов в общей сумме контрактации</a:t>
            </a:r>
            <a:endParaRPr lang="ru-RU" sz="2400" b="1" i="1" dirty="0">
              <a:solidFill>
                <a:srgbClr val="FF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68831" y="5688618"/>
            <a:ext cx="17664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кг-рейтинг.рф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0" name="Picture 2" descr="Picture backgroun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219" y="5247998"/>
            <a:ext cx="1319580" cy="131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2003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22395" y="322746"/>
            <a:ext cx="11537825" cy="112034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авомерно ли установление требования о принятии к оценке только контрактов (договоров), заключенных в соответствии</a:t>
            </a:r>
            <a:b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 Законом № 44-ФЗ и Законом № 223-ФЗ? 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718208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22394" y="2368972"/>
            <a:ext cx="115378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правомерно, т.к. в случае применения показателя оценки «Наличие у участников закупки опыта поставки товара, выполнения работы, оказания услуги, связанного            с предметом контракта» по критерию оценки «Квалификация участников закупки»             к оценке принимаются исполненные участником закупки с учетом правопреемства           (в случае наличия в заявке подтверждающего документа) гражданско-правовые договоры, в том числе заключенные и исполненные в соответствии                                    с Законом № 44-ФЗ</a:t>
            </a:r>
            <a:r>
              <a:rPr lang="en-GB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alt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21293" y="5914168"/>
            <a:ext cx="107933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ФАС России от 11.04.2022 по делу № 22/44/93/44 (0172100005022000004) </a:t>
            </a:r>
          </a:p>
        </p:txBody>
      </p:sp>
    </p:spTree>
    <p:extLst>
      <p:ext uri="{BB962C8B-B14F-4D97-AF65-F5344CB8AC3E}">
        <p14:creationId xmlns:p14="http://schemas.microsoft.com/office/powerpoint/2010/main" val="263855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6926" y="-275554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141030" y="508881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в ПП РФ № 2571</a:t>
            </a:r>
            <a:r>
              <a:rPr lang="en-US" sz="32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3200" b="1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21560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777064" y="2835195"/>
            <a:ext cx="793326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тся предусмотреть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участниками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а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опыте выполнения работ, не требующих выдачи разрешения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од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а капитального строительства в эксплуатацию, исключительно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кой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 заключен и исполнен в соответствии с Законом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44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З или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оном № 223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З 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П РФ 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№ 2571)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</a:t>
            </a:r>
            <a:endParaRPr lang="ru-RU" sz="1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Штриховая стрелка вправо 11"/>
          <p:cNvSpPr/>
          <p:nvPr/>
        </p:nvSpPr>
        <p:spPr>
          <a:xfrm flipV="1">
            <a:off x="1003022" y="3030949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54923" y="1542593"/>
            <a:ext cx="77775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ая позиция приложения к ПП РФ № 2571 применяется в установленном порядке </a:t>
            </a:r>
            <a:r>
              <a:rPr lang="ru-RU" sz="1600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 зависимости от сферы осуществления деятельности заказчика </a:t>
            </a: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П РФ 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№ 2571)</a:t>
            </a:r>
            <a:endParaRPr lang="ru-RU" sz="1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Штриховая стрелка вправо 15"/>
          <p:cNvSpPr/>
          <p:nvPr/>
        </p:nvSpPr>
        <p:spPr>
          <a:xfrm flipV="1">
            <a:off x="1003022" y="1547784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697383" y="4344297"/>
            <a:ext cx="82302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тся предоставить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у право при проведении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курсов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навливать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е о принятии к оценке исключительно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ов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ных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исполненных в соответствии с Законом №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4-ФЗ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Законом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3-ФЗ </a:t>
            </a: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П 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Ф № </a:t>
            </a: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571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Штриховая стрелка вправо 18"/>
          <p:cNvSpPr/>
          <p:nvPr/>
        </p:nvSpPr>
        <p:spPr>
          <a:xfrm flipV="1">
            <a:off x="1087689" y="4199080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854924" y="5636899"/>
            <a:ext cx="77775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ожения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71,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сающиеся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а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мета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о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ого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а»,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водятся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ми,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сенными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 </a:t>
            </a: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П РФ </a:t>
            </a:r>
            <a:r>
              <a:rPr lang="ru-RU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№ 2571)</a:t>
            </a:r>
            <a:endParaRPr lang="ru-RU" sz="1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Штриховая стрелка вправо 20"/>
          <p:cNvSpPr/>
          <p:nvPr/>
        </p:nvSpPr>
        <p:spPr>
          <a:xfrm flipV="1">
            <a:off x="1087689" y="5361258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1448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9992" y="-190888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141030" y="508881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</a:t>
            </a:r>
            <a:r>
              <a:rPr lang="ru-RU" sz="32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ПП РФ № 2571 и ПП РФ № 2604</a:t>
            </a:r>
            <a:endParaRPr lang="ru-RU" sz="3200" b="1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21560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858156" y="1816262"/>
            <a:ext cx="95809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целях правовой определенности предлагается установить, что содержащееся в ПП РФ                          № 2571 понятие договора строительного подряда, означает договор о строительстве, реконструкции, капитальном ремонте объектов капитального строительства, заключенный участником закупки непосредственно с застройщиком, техническим заказчиком, лицом, ответственным за эксплуатацию здания, сооружения или региональным оператором (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менно в понятии, предусмотренном частью 2 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атьи 52 </a:t>
            </a:r>
            <a:r>
              <a:rPr lang="ru-RU" sz="1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рК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Ф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</p:txBody>
      </p:sp>
      <p:sp>
        <p:nvSpPr>
          <p:cNvPr id="16" name="Штриховая стрелка вправо 15"/>
          <p:cNvSpPr/>
          <p:nvPr/>
        </p:nvSpPr>
        <p:spPr>
          <a:xfrm flipV="1">
            <a:off x="628227" y="4909518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858155" y="4896891"/>
            <a:ext cx="95809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тся предоставить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у право при проведен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курсо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авливать требование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ии к оценке исключительн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о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ных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исполненных в соответствии с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ом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44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З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Законо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3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З (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604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Штриховая стрелка вправо 17"/>
          <p:cNvSpPr/>
          <p:nvPr/>
        </p:nvSpPr>
        <p:spPr>
          <a:xfrm flipV="1">
            <a:off x="699916" y="2006836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684867" y="3557571"/>
            <a:ext cx="95809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водится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о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ок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ять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ю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е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я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а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и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а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ог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а,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ходящег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ав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инейног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а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например,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нция метрополитена)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П РФ № 2571)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Штриховая стрелка вправо 19"/>
          <p:cNvSpPr/>
          <p:nvPr/>
        </p:nvSpPr>
        <p:spPr>
          <a:xfrm flipV="1">
            <a:off x="576517" y="3412352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23965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6926" y="-275554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141030" y="508881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</a:t>
            </a:r>
            <a:r>
              <a:rPr lang="ru-RU" sz="32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ПП РФ № 2604</a:t>
            </a:r>
            <a:endParaRPr lang="ru-RU" sz="3200" b="1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21560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823669" y="5301789"/>
            <a:ext cx="95809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т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ить общее правило о необходимос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я участникам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 разрешения на ввод объекта капитального строительств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эксплуатацию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за исключение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чая,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тором объектом закупк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а являют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, не требующие выдачи таког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ешения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Ф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№ 2604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2" name="Штриховая стрелка вправо 11"/>
          <p:cNvSpPr/>
          <p:nvPr/>
        </p:nvSpPr>
        <p:spPr>
          <a:xfrm flipV="1">
            <a:off x="544014" y="5211500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947334" y="3689326"/>
            <a:ext cx="95809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тся установить возможность заказчика установить требование о принятии к оценке 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ительно договоров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усматривающих выполнение участниками закупок работ, 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ебующих выдачи разрешения на ввод объекта капитального строительства в эксплуатацию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если объектом закупки заказчика являются работы, требующие выдачи такого разрешения (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604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184400" y="1824829"/>
            <a:ext cx="958095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и закупки смогут 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ь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у для целей оценки 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мер реестровой записи вместо подтверждающих документов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сли такие документы содержатся в открытых и общедоступных государственных реестрах, размещенных в информационно-телекоммуникационной сети «Интернет»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ПП РФ № 2604)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Штриховая стрелка вправо 14"/>
          <p:cNvSpPr/>
          <p:nvPr/>
        </p:nvSpPr>
        <p:spPr>
          <a:xfrm flipV="1">
            <a:off x="544014" y="1662346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Штриховая стрелка вправо 15"/>
          <p:cNvSpPr/>
          <p:nvPr/>
        </p:nvSpPr>
        <p:spPr>
          <a:xfrm flipV="1">
            <a:off x="401884" y="3643326"/>
            <a:ext cx="1056640" cy="112143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7650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72438"/>
            <a:ext cx="11537825" cy="781410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рядок действия комиссии по осуществлению закупок при проверке достоверности представляемых сведений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27526" y="1607108"/>
            <a:ext cx="11537825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4988" algn="just"/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и рассмотрении вторых частей заявок на участие в закупке заявку можно</a:t>
            </a:r>
            <a:b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</a:b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и нужно отклонить в случае выявления недостоверной информации в заявке</a:t>
            </a:r>
            <a:b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</a:b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(</a:t>
            </a:r>
            <a:r>
              <a:rPr lang="ru-RU" dirty="0" smtClean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ункт 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8 </a:t>
            </a:r>
            <a:r>
              <a:rPr lang="ru-RU" dirty="0" smtClean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части 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12 </a:t>
            </a:r>
            <a:r>
              <a:rPr lang="ru-RU" dirty="0" smtClean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татьи 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48 Закона № 44-ФЗ)</a:t>
            </a:r>
            <a:r>
              <a:rPr lang="en-US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.</a:t>
            </a:r>
            <a:endParaRPr lang="ru-RU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534988" algn="just"/>
            <a:endParaRPr lang="ru-RU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534988" algn="just"/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Для подтверждения достоверности информации, содержащейся в заявке, </a:t>
            </a:r>
            <a:r>
              <a:rPr lang="ru-RU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заказчик вправе направлять запросы 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в соответствующие уполномоченные учреждения, а также руководствоваться открытыми источниками информации, размещенными на официальных сайтах государственных органов (например</a:t>
            </a:r>
            <a:r>
              <a:rPr lang="en-GB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, 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при закупках медицинских изделий – заказчик должен обратиться к сайту Росздравнадзора)</a:t>
            </a:r>
            <a:r>
              <a:rPr lang="en-GB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.</a:t>
            </a:r>
            <a:r>
              <a:rPr lang="ru-RU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</a:t>
            </a:r>
          </a:p>
          <a:p>
            <a:pPr indent="534988" algn="just"/>
            <a:endParaRPr lang="ru-RU" dirty="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оме того, в порядке, предусмотренном статьей 141 Уголовно-процессуального кодекса Российской Федерации, заказчик, заказчик вправе направить в МВД России и Генеральную Прокуратуру Российской Федерации информацию о преступлении, предусмотренном частью 5 статьи 327 УК РФ, и документы, подтверждающие факт его совершения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C6B8FD-6B98-5732-4978-42A91D195640}"/>
              </a:ext>
            </a:extLst>
          </p:cNvPr>
          <p:cNvSpPr/>
          <p:nvPr/>
        </p:nvSpPr>
        <p:spPr>
          <a:xfrm>
            <a:off x="443235" y="5541235"/>
            <a:ext cx="113015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ВС РФ от 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5.06.2024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301-ЭС24-4180 (дело № А79-11990/2022) – заказчик знал о предоставлении недостоверных сведений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i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изнал заявку соответствующей и заключил контракт;</a:t>
            </a:r>
          </a:p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Конституционного суда от 14.12.2023 № 3288-О</a:t>
            </a:r>
          </a:p>
        </p:txBody>
      </p:sp>
    </p:spTree>
    <p:extLst>
      <p:ext uri="{BB962C8B-B14F-4D97-AF65-F5344CB8AC3E}">
        <p14:creationId xmlns:p14="http://schemas.microsoft.com/office/powerpoint/2010/main" val="5270190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22395" y="290700"/>
            <a:ext cx="11537825" cy="1027631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естр недостоверных сведений, представленных участниками закупок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792" y="1478045"/>
            <a:ext cx="10623883" cy="52012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1220" y="895459"/>
            <a:ext cx="3429000" cy="304800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C7EE61B-3210-8DB7-89EF-3E9087508FD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6041" y="1433272"/>
            <a:ext cx="2199167" cy="219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718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1333854" y="863530"/>
            <a:ext cx="8363414" cy="420222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истемные разъяснения ФАС Росси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17264" y="2084098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22395" y="2084994"/>
            <a:ext cx="11754015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23.05.2023 № МШ/39918/23 (о применения КоАП к закупкам 2021 года)</a:t>
            </a:r>
          </a:p>
          <a:p>
            <a:pPr marL="342900" indent="-342900" algn="just">
              <a:buAutoNum type="arabicPeriod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07.07.2023 № МШ/54012/23 (о порядке исключения сведений из реестр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ов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у № 44-ФЗ и Закону № 223-ФЗ)</a:t>
            </a:r>
          </a:p>
          <a:p>
            <a:pPr marL="342900" indent="-342900" algn="just">
              <a:buAutoNum type="arabicPeriod" startAt="3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11.07.2023 № МШ/54828/23 (об установлении требований к участникам закупки о членстве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РО)</a:t>
            </a:r>
          </a:p>
          <a:p>
            <a:pPr marL="342900" indent="-342900" algn="just">
              <a:buAutoNum type="arabicPeriod" startAt="3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26.07.2023 № МШ/59508/23 (о формировании лота при закупках по содержанию и ремонту автодорог)</a:t>
            </a:r>
          </a:p>
          <a:p>
            <a:pPr marL="342900" indent="-342900" algn="just">
              <a:buAutoNum type="arabicPeriod" startAt="5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09.01.2024 № МШ/211/24 (о порядке проверки наличия у участника закупки правоспособности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виде наличия лицензии, предусмотренной Законом № 99-ФЗ)</a:t>
            </a:r>
          </a:p>
          <a:p>
            <a:pPr marL="342900" indent="-342900" algn="just">
              <a:buAutoNum type="arabicPeriod" startAt="5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11</a:t>
            </a:r>
            <a:r>
              <a:rPr lang="en-US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01.2024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МШ/875/24 </a:t>
            </a:r>
            <a:r>
              <a:rPr lang="en-US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alt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дтверждении наличия опыта в соответствии с </a:t>
            </a:r>
            <a:r>
              <a:rPr lang="ru-RU" alt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м №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2571)</a:t>
            </a:r>
          </a:p>
          <a:p>
            <a:pPr marL="342900" indent="-342900" algn="just">
              <a:buAutoNum type="arabicPeriod" startAt="5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</a:t>
            </a:r>
            <a:r>
              <a:rPr lang="ru-RU" alt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r>
              <a:rPr lang="en-GB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05.2024 №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Ш/44714/24 </a:t>
            </a:r>
            <a:r>
              <a:rPr lang="en-GB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 установлении при рассмотрении жалоб по </a:t>
            </a:r>
            <a:r>
              <a:rPr lang="ru-RU" alt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у № 223-ФЗ</a:t>
            </a:r>
            <a:br>
              <a:rPr lang="ru-RU" alt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чинно-следственной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язи между отклонением заявки и признания незаконным пункта документации,</a:t>
            </a:r>
            <a:r>
              <a:rPr lang="en-GB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alt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alt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служившим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снованием для такого отклонения)</a:t>
            </a:r>
          </a:p>
          <a:p>
            <a:pPr marL="342900" indent="-342900" algn="just">
              <a:buAutoNum type="arabicPeriod" startAt="5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17</a:t>
            </a:r>
            <a:r>
              <a:rPr lang="en-GB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06.2024 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МШ/52068/24 (о применении КоАП)</a:t>
            </a:r>
          </a:p>
          <a:p>
            <a:pPr marL="342900" indent="-342900" algn="just">
              <a:buAutoNum type="arabicPeriod" startAt="5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от 10.07.2024 № МШ/60841/24 (о порядке предоставления преимуществ организациям инвалидов</a:t>
            </a:r>
            <a:b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о статьей 29 Закона № 44-ФЗ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BD55285-05F8-F265-A747-628577A122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479" y="55005"/>
            <a:ext cx="2037272" cy="203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759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0" y="-321334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154662" y="132438"/>
            <a:ext cx="11537825" cy="819882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9.08.2024 </a:t>
            </a: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елу №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8/06/105-2009/2024 </a:t>
            </a:r>
          </a:p>
          <a:p>
            <a:pPr marR="6773">
              <a:spcBef>
                <a:spcPts val="333"/>
              </a:spcBef>
            </a:pP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45200000424001397, </a:t>
            </a:r>
            <a:r>
              <a:rPr lang="ru-RU" sz="2400" b="1" dirty="0" err="1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едостоверка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ИЖС</a:t>
            </a:r>
            <a:r>
              <a:rPr lang="ru-RU" sz="24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lang="ru-RU" sz="2400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4" y="97368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22394" y="1106276"/>
            <a:ext cx="11537825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16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Закупка: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ирова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строительство объекта: «Средняя общеобразовательная школа на 600 мест по адресу Ленинградская область, г. Тихвин, 1а микрорайон, 25»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НМЦ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920 591 400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indent="452438" algn="just"/>
            <a:r>
              <a:rPr lang="ru-RU" sz="1600" b="1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вод</a:t>
            </a:r>
            <a:r>
              <a:rPr lang="ru-RU" sz="16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: заявка заявителя неправомерно отклонена</a:t>
            </a:r>
          </a:p>
          <a:p>
            <a:pPr indent="452438" algn="just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ть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токолу подведения итогов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явк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явителя признан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ей требованиям Извещения и Закона о контрактной </a:t>
            </a:r>
            <a:r>
              <a:rPr lang="ru-RU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е </a:t>
            </a:r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язи с выявлением недостоверной информаци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одержащейся в заявке на участие в закупке.</a:t>
            </a:r>
          </a:p>
          <a:p>
            <a:pPr indent="452438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ей установлено, что Оператором электронной площадки в реестре участников закупки, аккредитованных на электронной площадке, в качестве подтверждения наличия у Заявителя опыта выполнения работ в соответств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зицией 7 приложения к Постановлению № 2571 размещены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м числе копии следующих документов:</a:t>
            </a:r>
          </a:p>
          <a:p>
            <a:pPr indent="452438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‒ договор генерального подряда на выполнение работ по строительству ИЖС от 30.11.2021 № КП-972 заключенный между ООО «Инженерные системы» и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вонинским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.Н. (далее – Договор);</a:t>
            </a:r>
          </a:p>
          <a:p>
            <a:pPr indent="452438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‒ акты приемки выполненных работ.</a:t>
            </a:r>
          </a:p>
          <a:p>
            <a:pPr indent="452438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ей в адрес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вонинского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.Н. направлен запрос от 27.08.202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8/76745/24 о достоверности Договора. По результатам рассмотрения запроса получен ответ об отсутствии между Заявителем и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вонинским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.Н. каких-либо договорных обязательств, в том числе по Договору.</a:t>
            </a:r>
          </a:p>
          <a:p>
            <a:pPr indent="452438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итывая изложенное, Комиссия приходит к выводу, что действия Комиссии по осуществлению закупок, отклонившей заявку Заявителя ввиду представления недостоверных сведений в качестве подтверждения наличия опыта по позиции 7 приложения к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2571, не противоречат положениям Закона о контрактной системе, в связи с чем довод Заявителя не нашел своего подтверждения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оме того, действия Заявителя,  предоставившего в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ирующий орган заведомо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оверную информацию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,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уют признаки состава административного правонарушения, ответственность за совершение которого предусмотренного частью 1 статьи 19.7.2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АП.</a:t>
            </a:r>
            <a:endParaRPr lang="ru-RU" sz="16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096000" y="6369255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влечет наложение административного штрафа на должностных лиц в размере пятнадцати тысяч рублей; на юридических лиц - ста тысяч рублей.</a:t>
            </a:r>
          </a:p>
        </p:txBody>
      </p:sp>
    </p:spTree>
    <p:extLst>
      <p:ext uri="{BB962C8B-B14F-4D97-AF65-F5344CB8AC3E}">
        <p14:creationId xmlns:p14="http://schemas.microsoft.com/office/powerpoint/2010/main" val="964368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48062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менение ПП РФ № 878 и Приказа № 126н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96D5C6D-FBF5-BA75-18D9-E6025DDFDE8F}"/>
              </a:ext>
            </a:extLst>
          </p:cNvPr>
          <p:cNvSpPr/>
          <p:nvPr/>
        </p:nvSpPr>
        <p:spPr>
          <a:xfrm>
            <a:off x="222393" y="1529679"/>
            <a:ext cx="1151375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, если закупаемый товар включен в перечень, утвержденный ПП РФ № 878,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 также сведения о нем содержатся в приложении к Приказу Минфина России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126н, заказчику необходимо установить в извещении об осуществлении закупки ограничения допуска в соответствии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ПП РФ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878 и условия допуска в соответствии с Приказом Минфина России № 126н.</a:t>
            </a: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, если участник закупки не предоставил в заявке информацию и документы, предусмотренные пунктом 3.1 ПП РФ от 10.07.2019 № 878, то применяется Приказ Минфина России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126н, в соответствии с которым подтверждением страны происхождения радиоэлектронной продукции является исключительно декларация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9A8295-74B5-C054-C761-11D465896803}"/>
              </a:ext>
            </a:extLst>
          </p:cNvPr>
          <p:cNvSpPr txBox="1"/>
          <p:nvPr/>
        </p:nvSpPr>
        <p:spPr>
          <a:xfrm>
            <a:off x="387591" y="5970822"/>
            <a:ext cx="111766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ФАС России от 31.</a:t>
            </a:r>
            <a:r>
              <a:rPr lang="en-US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2022 </a:t>
            </a:r>
            <a:r>
              <a:rPr lang="ru-RU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ДФ/99397/22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я ВС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Ф от 24.04.2024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305-ЭС24-5299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08.05.2024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309-ЭС24-1236</a:t>
            </a:r>
            <a:endParaRPr lang="ru-RU" sz="16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224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48062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верка достоверности декларации о стране происхождения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96D5C6D-FBF5-BA75-18D9-E6025DDFDE8F}"/>
              </a:ext>
            </a:extLst>
          </p:cNvPr>
          <p:cNvSpPr/>
          <p:nvPr/>
        </p:nvSpPr>
        <p:spPr>
          <a:xfrm>
            <a:off x="231070" y="1750280"/>
            <a:ext cx="1151375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algn="just">
              <a:buClr>
                <a:srgbClr val="C30C3E"/>
              </a:buClr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Определение ВС РФ от 24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01.2024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304-ЭС23-27821 (постановление Восьмого арбитражного апелляционного суда от 05.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9.2023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делу № </a:t>
            </a:r>
            <a:r>
              <a:rPr lang="ru-RU" sz="20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70-7845/2023):</a:t>
            </a: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algn="just">
              <a:buClr>
                <a:srgbClr val="C30C3E"/>
              </a:buClr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…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кларирование не отменяет обязанность заказчика как профессионального участника торгов установить соответствие предлагаемых к поставке товаров условиям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претам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ениям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ным в соответствии со статьей 14 Закона № 44-ФЗ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предпринять исчерпывающие меры для установления факта предоставления достоверной информации о стране происхождения товара,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екларированной участником в заявке</a:t>
            </a:r>
            <a:r>
              <a:rPr lang="en-US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3554B0-4521-92B7-D2E4-8ACD7F45E0C5}"/>
              </a:ext>
            </a:extLst>
          </p:cNvPr>
          <p:cNvSpPr txBox="1"/>
          <p:nvPr/>
        </p:nvSpPr>
        <p:spPr>
          <a:xfrm>
            <a:off x="387591" y="5970822"/>
            <a:ext cx="111766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ФАС России от 0</a:t>
            </a:r>
            <a:r>
              <a:rPr lang="en-US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08.2023 </a:t>
            </a: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/63395/24;</a:t>
            </a:r>
            <a:r>
              <a:rPr lang="en-US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altLang="ru-RU" sz="16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ФАС России от 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.03.2024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 делу № 28/06/105-694/2024</a:t>
            </a:r>
          </a:p>
        </p:txBody>
      </p:sp>
    </p:spTree>
    <p:extLst>
      <p:ext uri="{BB962C8B-B14F-4D97-AF65-F5344CB8AC3E}">
        <p14:creationId xmlns:p14="http://schemas.microsoft.com/office/powerpoint/2010/main" val="39218688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5569728" cy="69228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F503607-D0B3-4FD3-B052-5C01C4B20D38}"/>
              </a:ext>
            </a:extLst>
          </p:cNvPr>
          <p:cNvSpPr txBox="1"/>
          <p:nvPr/>
        </p:nvSpPr>
        <p:spPr>
          <a:xfrm>
            <a:off x="189744" y="0"/>
            <a:ext cx="11914640" cy="57015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R="6773" algn="ctr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страны происхождения </a:t>
            </a:r>
          </a:p>
          <a:p>
            <a:pPr marR="6773" algn="ctr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овара при осуществлении закупок бананов</a:t>
            </a:r>
          </a:p>
          <a:p>
            <a:pPr algn="ctr"/>
            <a:endParaRPr lang="ru-RU" sz="1000" kern="100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лу положений подпункта «б» пункта 2 части 1 статьи 43 Закона № 44-ФЗ заявка на участие в закупке должна содержать наименование страны происхождения товара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том пунктом 3 части 5 статьи 48 Закона № 44-ФЗ определено, что при рассмотрении первых частей заявок на участие</a:t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закупке соответствующая заявка подлежит отклонению в случае выявления недостоверной информации, содержащейся</a:t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первой части заявки на участие в закупке. </a:t>
            </a: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и с разделом 1 «Соглашения о Правилах определения страны происхождения товаров в Содружестве Независимых Государств» от 20.11.2009 (далее — Соглашение) подтверждением страны происхождения товара может являться сертификат о происхождении товара, выдаваемый по форме СТ-1, уполномоченными органами на территории соответствующего государства – участника Соглашения, либо иной документ, выданный в установленном порядке. </a:t>
            </a: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АС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ии отмечает, что в соответствии с пунктом 2.1 и подпунктом «б» пункта 2.2 Соглашения установлено, что товарами, полностью произведенными в государстве – участнике Соглашения, считается, в частности, продукция растительного происхождения, выращенная и/или собранная в данной стране. </a:t>
            </a: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мест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тем согласно пункту 2.4 Соглашения в случае участия в производстве товара третьих стран, помимо</a:t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 – участников Соглашения, страна происхождения товара определяется в соответствии с критерием достаточной обработки/переработки товара. </a:t>
            </a:r>
          </a:p>
          <a:p>
            <a:pPr indent="534988"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ким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м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ли участник закуп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целях предоставления сведений о стране происхождения в соответствии</a:t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Приказом № 126н в своей заявке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екларирует страну происхождения свежих бананов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а также иных тропических фруктов) –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ию, заявка такого участника содержит недостоверные сведения,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чем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лежит отклонению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 flipV="1">
            <a:off x="117437" y="1125334"/>
            <a:ext cx="11947894" cy="6873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>
            <a:extLst>
              <a:ext uri="{FF2B5EF4-FFF2-40B4-BE49-F238E27FC236}">
                <a16:creationId xmlns:a16="http://schemas.microsoft.com/office/drawing/2014/main" id="{C8F67F4F-7020-47AB-5216-1E3255059582}"/>
              </a:ext>
            </a:extLst>
          </p:cNvPr>
          <p:cNvSpPr/>
          <p:nvPr/>
        </p:nvSpPr>
        <p:spPr>
          <a:xfrm>
            <a:off x="11429890" y="6253289"/>
            <a:ext cx="605620" cy="476687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12" name="Shape 332"/>
          <p:cNvSpPr/>
          <p:nvPr/>
        </p:nvSpPr>
        <p:spPr>
          <a:xfrm>
            <a:off x="189744" y="1458244"/>
            <a:ext cx="11575609" cy="938719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>
              <a:lnSpc>
                <a:spcPts val="2160"/>
              </a:lnSpc>
            </a:pPr>
            <a:endParaRPr sz="800" b="1" dirty="0">
              <a:latin typeface="Times New Roman"/>
              <a:ea typeface="Times New Roman"/>
              <a:cs typeface="Times New Roman"/>
            </a:endParaRPr>
          </a:p>
          <a:p>
            <a:pPr algn="just">
              <a:lnSpc>
                <a:spcPts val="2160"/>
              </a:lnSpc>
            </a:pPr>
            <a:endParaRPr lang="ru-RU" b="1" u="sng" dirty="0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>
              <a:lnSpc>
                <a:spcPts val="2160"/>
              </a:lnSpc>
            </a:pPr>
            <a:endParaRPr sz="1000" dirty="0"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682933F-DD03-46D6-935B-F83E91D74922}"/>
              </a:ext>
            </a:extLst>
          </p:cNvPr>
          <p:cNvSpPr txBox="1">
            <a:spLocks/>
          </p:cNvSpPr>
          <p:nvPr/>
        </p:nvSpPr>
        <p:spPr bwMode="auto">
          <a:xfrm>
            <a:off x="2" y="6489813"/>
            <a:ext cx="12261180" cy="36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>
              <a:spcBef>
                <a:spcPct val="0"/>
              </a:spcBef>
            </a:pPr>
            <a:endParaRPr lang="ru-RU" altLang="ru-RU" sz="1600" b="1" i="1" dirty="0">
              <a:solidFill>
                <a:srgbClr val="FF0000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6FFB63-E2E6-E3D3-4B1B-C9613B03D5A3}"/>
              </a:ext>
            </a:extLst>
          </p:cNvPr>
          <p:cNvSpPr txBox="1"/>
          <p:nvPr/>
        </p:nvSpPr>
        <p:spPr>
          <a:xfrm>
            <a:off x="342901" y="6068748"/>
            <a:ext cx="89196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kern="1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исьмо ФАС России от 10.03.2023 № ПИ/17471/23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kern="1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а Минсельхоза России от 15.04.2020 № 19/2051, от 25.02.2021 № 18/36</a:t>
            </a:r>
            <a:endParaRPr lang="ru-R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6FFB63-E2E6-E3D3-4B1B-C9613B03D5A3}"/>
              </a:ext>
            </a:extLst>
          </p:cNvPr>
          <p:cNvSpPr txBox="1"/>
          <p:nvPr/>
        </p:nvSpPr>
        <p:spPr>
          <a:xfrm>
            <a:off x="5569728" y="5551183"/>
            <a:ext cx="65573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официальными данными Росстата промышленное выращивание бананов на территории Российской Федерации отсутствует.</a:t>
            </a:r>
          </a:p>
        </p:txBody>
      </p:sp>
    </p:spTree>
    <p:extLst>
      <p:ext uri="{BB962C8B-B14F-4D97-AF65-F5344CB8AC3E}">
        <p14:creationId xmlns:p14="http://schemas.microsoft.com/office/powerpoint/2010/main" val="31586693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164492"/>
            <a:ext cx="11537825" cy="1197293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18.07.2023 по делу № 28/06/105-184/2023 </a:t>
            </a:r>
          </a:p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73100009523000103) </a:t>
            </a:r>
          </a:p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3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отклонение за предоставление недостоверной информации)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41712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86478" y="1372520"/>
            <a:ext cx="1153782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4988" algn="just"/>
            <a:r>
              <a:rPr lang="ru-RU" sz="20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Суть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: согласно Протоколу подведения итогов заявка участника отклонена в связи со следующим: «Выявление недостоверной информации, содержащейся в заявке на участие в закупке. Причина несоответствия: Участник закупки предоставил выписку из реестра российской промышленной продукции, реестровая запись № 5693\52\2022 от 25.01.2022 для позиции 9 технического задания Заказчика. В соответствии с данной выпиской «Эргономичное кресло SU-BK131-8». Согласно информации с </a:t>
            </a:r>
            <a:r>
              <a:rPr lang="ru-RU" sz="2000" b="1" i="1" dirty="0">
                <a:latin typeface="Times New Roman"/>
                <a:ea typeface="Times New Roman"/>
                <a:cs typeface="Times New Roman"/>
              </a:rPr>
              <a:t>официального сайта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производителя данных компьютерных кресел  </a:t>
            </a:r>
            <a:r>
              <a:rPr lang="ru-RU" sz="2000" dirty="0" err="1">
                <a:latin typeface="Times New Roman"/>
                <a:ea typeface="Times New Roman"/>
                <a:cs typeface="Times New Roman"/>
              </a:rPr>
              <a:t>http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://</a:t>
            </a:r>
            <a:r>
              <a:rPr lang="ru-RU" sz="2000" dirty="0" err="1">
                <a:latin typeface="Times New Roman"/>
                <a:ea typeface="Times New Roman"/>
                <a:cs typeface="Times New Roman"/>
              </a:rPr>
              <a:t>su-rf.su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/: Максимальная высота кресла составляет – 1270 мм; Минимальная высота кресла составляет – 1170 мм; Ширина сиденья - 475 мм. В то время как участником указаны: Максимальная высота кресла: 1040 мм; Минимальная высота кресла: 940 мм; Ширина сиденья 480 мм. </a:t>
            </a:r>
          </a:p>
          <a:p>
            <a:pPr indent="534988" algn="just"/>
            <a:r>
              <a:rPr lang="ru-RU" sz="2000" b="1" dirty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Решение комиссии: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сведения, размещенные в открытых источниках сети «Интернет», не могут свидетельствовать о достоверности технических характеристик. Комиссия, изучив заявку Участника</a:t>
            </a:r>
            <a:br>
              <a:rPr lang="ru-RU" sz="2000" dirty="0">
                <a:latin typeface="Times New Roman"/>
                <a:ea typeface="Times New Roman"/>
                <a:cs typeface="Times New Roman"/>
              </a:rPr>
            </a:br>
            <a:r>
              <a:rPr lang="ru-RU" sz="2000" dirty="0">
                <a:latin typeface="Times New Roman"/>
                <a:ea typeface="Times New Roman"/>
                <a:cs typeface="Times New Roman"/>
              </a:rPr>
              <a:t>№ 7, приходит к выводу о соответствии указанной заявки требованиям Описания объекта закупки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F80E7C7-F607-42E5-F27D-D1E2D0615F54}"/>
              </a:ext>
            </a:extLst>
          </p:cNvPr>
          <p:cNvSpPr/>
          <p:nvPr/>
        </p:nvSpPr>
        <p:spPr>
          <a:xfrm>
            <a:off x="467697" y="5874183"/>
            <a:ext cx="107933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</a:t>
            </a:r>
            <a:r>
              <a:rPr lang="ru-RU" sz="1600" i="1" dirty="0" err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промторга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оссии от 04.</a:t>
            </a:r>
            <a:r>
              <a:rPr lang="en-GB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2023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106238/12;</a:t>
            </a:r>
          </a:p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ФАС России от 23.</a:t>
            </a:r>
            <a:r>
              <a:rPr lang="en-GB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.2023 №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И/98391/23;</a:t>
            </a:r>
          </a:p>
          <a:p>
            <a:pPr marL="14288" indent="438150" algn="just"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ФАС России от 24.</a:t>
            </a:r>
            <a:r>
              <a:rPr lang="en-GB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5.2024 п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делу</a:t>
            </a:r>
            <a:r>
              <a:rPr lang="en-GB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24/44/99/П2</a:t>
            </a:r>
            <a:endParaRPr lang="ru-RU" sz="16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27F680-7D99-E961-1BC6-B0B66BBB4EC9}"/>
              </a:ext>
            </a:extLst>
          </p:cNvPr>
          <p:cNvSpPr txBox="1"/>
          <p:nvPr/>
        </p:nvSpPr>
        <p:spPr>
          <a:xfrm>
            <a:off x="467697" y="5504851"/>
            <a:ext cx="7794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огичная позиция о незаконности сопоставления характеристик с ГИСП:</a:t>
            </a:r>
          </a:p>
        </p:txBody>
      </p:sp>
    </p:spTree>
    <p:extLst>
      <p:ext uri="{BB962C8B-B14F-4D97-AF65-F5344CB8AC3E}">
        <p14:creationId xmlns:p14="http://schemas.microsoft.com/office/powerpoint/2010/main" val="39346953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226660" y="1521652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5" name="Shape 85"/>
          <p:cNvSpPr/>
          <p:nvPr/>
        </p:nvSpPr>
        <p:spPr>
          <a:xfrm>
            <a:off x="189744" y="1458243"/>
            <a:ext cx="11575609" cy="122084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marL="0" indent="0" algn="l">
              <a:lnSpc>
                <a:spcPts val="2160"/>
              </a:lnSpc>
            </a:pPr>
            <a:endParaRPr sz="800" b="1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 u="sng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l">
              <a:lnSpc>
                <a:spcPts val="2160"/>
              </a:lnSpc>
            </a:pPr>
            <a:endParaRPr sz="100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" y="0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7312" y="101598"/>
            <a:ext cx="11845767" cy="136428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lvl="0" algn="ctr">
              <a:lnSpc>
                <a:spcPct val="105000"/>
              </a:lnSpc>
              <a:spcAft>
                <a:spcPts val="800"/>
              </a:spcAft>
            </a:pPr>
            <a:r>
              <a:rPr lang="ru-RU" sz="2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оритет информации при расхождении информации, указанной участником закупки</a:t>
            </a:r>
            <a:br>
              <a:rPr lang="ru-RU" sz="2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составе заявки, актуальной инструкции/ руководстве по эксплуатации медицинского  оборудования, официальном письме производителя медицинского оборудования, и содержащейся</a:t>
            </a:r>
            <a:br>
              <a:rPr lang="ru-RU" sz="2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государственном реестре медицинских изделий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80615" y="1570997"/>
            <a:ext cx="1175246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учетом части 4 статьи 38 Федерального закона от 21.11.2011 № 323-ФЗ на территории Российской Федерации разрешается обращение медицинских изделий, прошедших государственную регистрацию в порядке, установленном Правительством Российской Федерации, и медицинских изделий, прошедших регистрацию в соответствии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международными договорами и актами, составляющими право Евразийского экономического союза.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остановлением № 1650 сведения, содержащиеся в государственном реестре медицинских изделий и организаций (индивидуальных предпринимателей), осуществляющих производство и изготовление медицинских изделий (далее – Реестр), размещаются на официальном сайте Росздравнадзора в сети «Интернет». Сведения, содержащиеся в Реестре, обновляются ежедневно с сохранением всех редакций Реестра и являются общедоступными и предоставляются бесплатно органам государственной власти, органам местного самоуправления, иным юридическим лицам, а также физическим лицам. 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ьные сведения в отношении медицинских изделий, разрешенных к обращению на территории Российской Федерации, отражены в регистрационных удостоверениях и в инструкциях по применению медицинских изделий, содержащихся в государственном реестре медицинских изделий и организаций (индивидуальных предпринимателей), осуществляющих производство и изготовление медицинских изделий. </a:t>
            </a:r>
          </a:p>
          <a:p>
            <a:pPr indent="538163"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8163" algn="just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ким образом, в случае наличия расхождений между характеристиками, представленными участником закупки в заявке (иных документах, например, представляемых на заседание комиссии антимонопольного органа), и сведениями, содержащимися в Реестре на сайте Росздравнадзора, заявка подлежит отклонению. </a:t>
            </a:r>
          </a:p>
        </p:txBody>
      </p:sp>
    </p:spTree>
    <p:extLst>
      <p:ext uri="{BB962C8B-B14F-4D97-AF65-F5344CB8AC3E}">
        <p14:creationId xmlns:p14="http://schemas.microsoft.com/office/powerpoint/2010/main" val="33155888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261486" y="1781209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5" name="Shape 85"/>
          <p:cNvSpPr/>
          <p:nvPr/>
        </p:nvSpPr>
        <p:spPr>
          <a:xfrm>
            <a:off x="189744" y="1458243"/>
            <a:ext cx="11575609" cy="122084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marL="0" indent="0" algn="l">
              <a:lnSpc>
                <a:spcPts val="2160"/>
              </a:lnSpc>
            </a:pPr>
            <a:endParaRPr sz="800" b="1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 u="sng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l">
              <a:lnSpc>
                <a:spcPts val="2160"/>
              </a:lnSpc>
            </a:pPr>
            <a:endParaRPr sz="100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94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223" y="119853"/>
            <a:ext cx="10944106" cy="1618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 наличии записи «Для целей осуществления закупок для государственных и муниципальных нужд» в графе № 5 в сертификатах о происхождении товаров формы СТ-1 для целей осуществления закупок для обеспечения государственных и муниципальных нужд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1486" y="1823092"/>
            <a:ext cx="1167377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Пунктом 5.2 Приказа ТПП РФ № 29 установлено, что в графу № 5 сертификата «Для служебных отметок» вносится следующая запись: «Для целей осуществления закупок для государственных и муниципальных нужд» и, при необходимости, информация о дубликате. </a:t>
            </a: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Пунктом 7.4 Соглашения о Правилах определения страны происхождения товаров в Содружестве Независимых Государств от 20.11.2009 (далее – Правила) установлено, что в графу № 5 сертификата «Для служебных отметок» впечатываются, вносятся от руки или проставляются штампом служебные отметки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ых контролирующих органов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ан вывоза, транзита и/или получения товара, а также при необходимости следующие записи: «Дубликат», «Выдан взамен сертификата», «Выдан впоследствии», а также другие записи, предусмотренные Правилами. </a:t>
            </a: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При этом ФАС России отмечает, что ТПП РФ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является государственным контролирующим органом Российской Федераци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Таким образом, ФАС России обращает внимание, что наличие в графе 5 записи «Для целей осуществления закупок для государственных и муниципальных нужд» или иных других ограничивает возможность хозяйствующих субъектов участвовать в государственных и муниципальных закупках с товаром отечественного производства,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вязи с чем предоставление сертификата СТ-1 является подтверждением страны происхождения товар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 заполнение графы 5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влечет за собой отклонение заявк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37D89-5DA2-BAAD-DB3C-546BBC432FD4}"/>
              </a:ext>
            </a:extLst>
          </p:cNvPr>
          <p:cNvSpPr txBox="1"/>
          <p:nvPr/>
        </p:nvSpPr>
        <p:spPr>
          <a:xfrm>
            <a:off x="156839" y="6313885"/>
            <a:ext cx="9624662" cy="334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о ФАС России от 17.06.2024 № ПИ/52337/24</a:t>
            </a:r>
          </a:p>
        </p:txBody>
      </p:sp>
    </p:spTree>
    <p:extLst>
      <p:ext uri="{BB962C8B-B14F-4D97-AF65-F5344CB8AC3E}">
        <p14:creationId xmlns:p14="http://schemas.microsoft.com/office/powerpoint/2010/main" val="42286288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156839" y="1706960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94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3947" y="137300"/>
            <a:ext cx="109441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 установлении требования представления в составе заявки регистрационного удостоверения на технические средства реабилитац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89394" y="1844635"/>
            <a:ext cx="1167377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е средства реабилитации, которые подлежат использованию в медицинских целях 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профилактики, медицинской реабилитации заболеваний, восстановления, замещения, изменения анатомической структуры или физиологических функций организма являются медицинскими изделиями и имеют общую базу регулирования отношений, связанных с их обращением. </a:t>
            </a:r>
          </a:p>
          <a:p>
            <a:pPr indent="538163" algn="just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, например, изделия для нейтрализации (поглощения) запаха внутри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омн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ешка, 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относятся к медицинским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подлежат обязательной государственной регистраци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Нейтрализаторы запаха могут быть указаны в качестве принадлежностей к медицинским изделиям. </a:t>
            </a:r>
          </a:p>
          <a:p>
            <a:pPr indent="538163" algn="just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ким образом, действия заказчика, установившего в извещении об осуществлении закупки требование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редоставлении регистрационного удостоверения в составе заявки на участие в закупке на товар, который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является медицинским изделием, не соответствуют пункту 3 части 2 статьи 42 Закона № 44-ФЗ.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37D89-5DA2-BAAD-DB3C-546BBC432FD4}"/>
              </a:ext>
            </a:extLst>
          </p:cNvPr>
          <p:cNvSpPr txBox="1"/>
          <p:nvPr/>
        </p:nvSpPr>
        <p:spPr>
          <a:xfrm>
            <a:off x="275390" y="6195056"/>
            <a:ext cx="9624662" cy="6093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Росздравнадзора от 23.06.2024 №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4-39229/24;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о Минфина России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т 09.08.2024 № 24-06-06/74766</a:t>
            </a:r>
          </a:p>
        </p:txBody>
      </p:sp>
    </p:spTree>
    <p:extLst>
      <p:ext uri="{BB962C8B-B14F-4D97-AF65-F5344CB8AC3E}">
        <p14:creationId xmlns:p14="http://schemas.microsoft.com/office/powerpoint/2010/main" val="4616625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 txBox="1"/>
          <p:nvPr/>
        </p:nvSpPr>
        <p:spPr>
          <a:xfrm>
            <a:off x="1354751" y="5247875"/>
            <a:ext cx="9195885" cy="276140"/>
          </a:xfrm>
          <a:prstGeom prst="rect">
            <a:avLst/>
          </a:prstGeom>
          <a:noFill/>
          <a:ln>
            <a:noFill/>
          </a:ln>
        </p:spPr>
        <p:txBody>
          <a:bodyPr vert="horz" wrap="square" lIns="68580" tIns="34291" rIns="68580" bIns="34291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2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517593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1920" y="76034"/>
            <a:ext cx="117263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лота при осуществлении закупки школы креативных индустрий</a:t>
            </a:r>
          </a:p>
          <a:p>
            <a:pPr algn="ctr"/>
            <a:r>
              <a:rPr lang="ru-RU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Распоряжение Правительства Российской Федерации от  20.09.2021  № </a:t>
            </a:r>
            <a: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613-р</a:t>
            </a:r>
            <a:b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б </a:t>
            </a:r>
            <a:r>
              <a:rPr lang="ru-RU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и Концепции развития креативных (творческих) индустрий и механизмов </a:t>
            </a:r>
            <a: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я</a:t>
            </a:r>
            <a:b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х </a:t>
            </a:r>
            <a:r>
              <a:rPr lang="ru-RU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й поддержки до 2030 года»)</a:t>
            </a:r>
          </a:p>
        </p:txBody>
      </p:sp>
      <p:sp>
        <p:nvSpPr>
          <p:cNvPr id="10" name="Shape 84"/>
          <p:cNvSpPr/>
          <p:nvPr/>
        </p:nvSpPr>
        <p:spPr>
          <a:xfrm flipV="1">
            <a:off x="221920" y="1536024"/>
            <a:ext cx="11726334" cy="8467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15" name="Скругленный прямоугольник 14"/>
          <p:cNvSpPr/>
          <p:nvPr/>
        </p:nvSpPr>
        <p:spPr>
          <a:xfrm>
            <a:off x="221920" y="2124580"/>
            <a:ext cx="11709400" cy="150205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indent="449263" algn="just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нктом 7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я №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8 установлено, что для целей ограничения допуска радиоэлектронной продукции,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сходящей из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остранных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, не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жет быть предметом одного контракта (одного лота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 радиоэлектронная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ция, включенная в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и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ключенная в него.</a:t>
            </a:r>
          </a:p>
          <a:p>
            <a:pPr lvl="0" indent="449263" algn="just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огичный принцип формирования лота предусмотрен положениями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я № 616,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ановления № 617.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/>
          <a:srcRect l="7321" t="13104" r="54275" b="60554"/>
          <a:stretch/>
        </p:blipFill>
        <p:spPr>
          <a:xfrm>
            <a:off x="6807934" y="4252540"/>
            <a:ext cx="5042404" cy="203517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/>
          <a:srcRect l="6657" t="13024" r="47407" b="58730"/>
          <a:stretch/>
        </p:blipFill>
        <p:spPr>
          <a:xfrm>
            <a:off x="382644" y="4252540"/>
            <a:ext cx="5616820" cy="2008924"/>
          </a:xfrm>
          <a:prstGeom prst="rect">
            <a:avLst/>
          </a:prstGeom>
        </p:spPr>
      </p:pic>
      <p:pic>
        <p:nvPicPr>
          <p:cNvPr id="18" name="Picture 2" descr="запрещено PNG рисунок, картинки и пнг прозрачный для бесплатной загрузки |  Pngtre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376" y="4907555"/>
            <a:ext cx="682865" cy="682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89A8295-74B5-C054-C761-11D465896803}"/>
              </a:ext>
            </a:extLst>
          </p:cNvPr>
          <p:cNvSpPr txBox="1"/>
          <p:nvPr/>
        </p:nvSpPr>
        <p:spPr>
          <a:xfrm>
            <a:off x="301327" y="6348623"/>
            <a:ext cx="111766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я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 РФ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.08.2021 № 305-ЭС21-14637, от 13.05.2024 года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305-ЭС24-6184 </a:t>
            </a:r>
            <a:endParaRPr lang="ru-RU" sz="16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5999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234896" y="1249760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94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220" y="332324"/>
            <a:ext cx="109441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6773" algn="ctr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крупнение лота при проведении совместных закупок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75388" y="1445357"/>
            <a:ext cx="11673771" cy="4845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  <a:tabLst>
                <a:tab pos="6120130" algn="l"/>
              </a:tabLst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миссии ФАС России, изучив Описание объекта закупки, пришли к выводу, что формирование заказчиками, уполномоченным органом совместной закупки </a:t>
            </a:r>
            <a:r>
              <a:rPr lang="ru-RU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оказание услуг по техническому обслуживанию лифтового оборудования на объектах медицинских организаций 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сударственной системы здравоохранения города Москвы </a:t>
            </a:r>
            <a:r>
              <a:rPr lang="ru-RU" sz="18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174 учреждения – </a:t>
            </a:r>
            <a:r>
              <a:rPr lang="ru-RU" sz="1800" b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94 </a:t>
            </a:r>
            <a:r>
              <a:rPr lang="ru-RU" sz="1800" b="1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кта </a:t>
            </a:r>
            <a:r>
              <a:rPr lang="ru-RU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дицинских организаций)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расположенных по адресам в различных административных округах города Москвы, а также на территории другого субъекта Российской Федерации – Московской области, приводит к увеличению объема оказываемых услуг, начальной (максимальной) цены государственного контракта, суммы обеспечения заявок, суммы обеспечения исполнения государственных контрактов, а также цены исполненного государственного контракта (договора), представляемого участниками конкурса в соответствии с позицией 14 приложения к </a:t>
            </a:r>
            <a:r>
              <a:rPr lang="ru-RU" sz="1800" dirty="0" smtClean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П РФ № 2571. 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оме того, одновременное нахождение специалистов объектах заказчиков накладывает на исполнителя по государственным контрактам дополнительную кадровую и финансовую нагрузку.</a:t>
            </a:r>
          </a:p>
          <a:p>
            <a:pPr algn="just">
              <a:lnSpc>
                <a:spcPct val="110000"/>
              </a:lnSpc>
              <a:spcAft>
                <a:spcPts val="800"/>
              </a:spcAft>
              <a:tabLst>
                <a:tab pos="612013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Кроме того, Комиссиями ФАС России установлено, что ранее каждый из заказчиков проводил отдельные закупки на оказание услуг по техническому обслуживанию лифтового оборудования на своих объектах.</a:t>
            </a:r>
          </a:p>
          <a:p>
            <a:pPr algn="just">
              <a:lnSpc>
                <a:spcPct val="110000"/>
              </a:lnSpc>
              <a:spcAft>
                <a:spcPts val="800"/>
              </a:spcAft>
              <a:tabLst>
                <a:tab pos="612013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Учитывая изложенное, Комиссии ФАС России пришли к выводу, что вышеуказанные действия заказчиков, уполномоченного органа нарушают пункт 1 части 2 </a:t>
            </a:r>
            <a:r>
              <a:rPr lang="ru-RU" sz="1800" dirty="0" smtClean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тьи 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2 Закона № 44-ФЗ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37D89-5DA2-BAAD-DB3C-546BBC432FD4}"/>
              </a:ext>
            </a:extLst>
          </p:cNvPr>
          <p:cNvSpPr txBox="1"/>
          <p:nvPr/>
        </p:nvSpPr>
        <p:spPr>
          <a:xfrm>
            <a:off x="275388" y="6248659"/>
            <a:ext cx="9624662" cy="334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шения ФАС России от 13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06.2024 </a:t>
            </a:r>
            <a:r>
              <a:rPr lang="en-US" sz="1600" i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 делам №№ 28/06/105-1475/2024 – 28/06/105-1488/2024</a:t>
            </a:r>
          </a:p>
        </p:txBody>
      </p:sp>
    </p:spTree>
    <p:extLst>
      <p:ext uri="{BB962C8B-B14F-4D97-AF65-F5344CB8AC3E}">
        <p14:creationId xmlns:p14="http://schemas.microsoft.com/office/powerpoint/2010/main" val="2677543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275390" y="1178036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5" name="Shape 85"/>
          <p:cNvSpPr/>
          <p:nvPr/>
        </p:nvSpPr>
        <p:spPr>
          <a:xfrm>
            <a:off x="189744" y="1458243"/>
            <a:ext cx="11575609" cy="122084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marL="0" indent="0" algn="l">
              <a:lnSpc>
                <a:spcPts val="2160"/>
              </a:lnSpc>
            </a:pPr>
            <a:endParaRPr sz="800" b="1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 u="sng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l">
              <a:lnSpc>
                <a:spcPts val="2160"/>
              </a:lnSpc>
            </a:pPr>
            <a:endParaRPr sz="100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4" y="0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223" y="165840"/>
            <a:ext cx="109441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нования предоставления преимуществ организациям инвалидов в соответствии со статьей 29 Закона № 44-ФЗ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0948" y="1455297"/>
            <a:ext cx="1181039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Действие части 2 статьи 29 Закона № 44-ФЗ распространяется на: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– общероссийские общественные организации инвалидов (в том числе созданные как союзы общественных организаций инвалидов), среди членов которых инвалиды и их законные представители составляют не менее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м 80 %;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– организации, уставный (складочный) капитал которых полностью состоит из вкладов общероссийских общественных организаций инвалидов и среднесписочная численность инвалидо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которых по отношению к другим работникам составляет не менее чем 50 %, а доля оплаты труда инвалидо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фонде оплаты труда – не менее чем 25 %.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Статьей 7 Федерального закона № 82-ФЗ «Об общественных объединениях» (далее – Закон № 82-ФЗ) установлено, что общественные объединения могут создаваться в том числе в форме общественной организации.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Учитывая различное содержание понятий (статья 14 Закона № 82-ФЗ) общероссийского и регионального общественного объединения (в том числе общественной организации),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, установленные статьей 29 Закона № 44-ФЗ, предоставляются исключительно общероссийским общественным организациям инвалидов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не распространяются на иные общественные организации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валидов.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Таким образом,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явки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ов закупки,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екларировавших принадлежность к организациям инвалидов,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не отвечающих критериям отнесения к организациям,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которые распространяется действие статьи 29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№ 44-ФЗ,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длежат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тклонению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37D89-5DA2-BAAD-DB3C-546BBC432FD4}"/>
              </a:ext>
            </a:extLst>
          </p:cNvPr>
          <p:cNvSpPr txBox="1"/>
          <p:nvPr/>
        </p:nvSpPr>
        <p:spPr>
          <a:xfrm>
            <a:off x="140661" y="5870135"/>
            <a:ext cx="11443668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о ФАС России от </a:t>
            </a:r>
            <a:r>
              <a:rPr lang="en-GB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0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0</a:t>
            </a:r>
            <a:r>
              <a:rPr lang="en-GB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2024 № МШ/</a:t>
            </a:r>
            <a:r>
              <a:rPr lang="en-GB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0841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/24;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шение ФАС России от 07.06.2024 по делу № 28/06/105-1456/2024;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шение Московского УФАС России от 02.07.2024 по делу № 077/06/106-8875/2024</a:t>
            </a:r>
          </a:p>
        </p:txBody>
      </p:sp>
    </p:spTree>
    <p:extLst>
      <p:ext uri="{BB962C8B-B14F-4D97-AF65-F5344CB8AC3E}">
        <p14:creationId xmlns:p14="http://schemas.microsoft.com/office/powerpoint/2010/main" val="142842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156839" y="1060192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94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222" y="113488"/>
            <a:ext cx="109441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объединения в один лот при совместной закупке муки пшеничной разных сортов: высшего, первого, второго (КТРУ 10.61.21.110-00000001); разных видов муки: пшеничной (КТРУ 10.61.21.110-00000001), ржаной (КТРУ 10.61.22.110-00000001), кукурузной (КТРУ 10.61.22.120-00000001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91813" y="1025229"/>
            <a:ext cx="1167377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ходя из буквального толкования части 1 статьи 25 Закона № 44-ФЗ основополагающим обстоятельством для проведения совместных конкурсов или аукционов является осуществление заказчиками закупок одних и тех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 товаров, работ, услуг.</a:t>
            </a:r>
          </a:p>
          <a:p>
            <a:pPr indent="538163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дними и теми же товарами»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контексте указанной нормы следует понимать товары, имеющие единые родовые признаки (например, «классные доски», в том числе меловые, маркерные) или составляющие комплект таких товаров (например, «ученический стул-парта»)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737D89-5DA2-BAAD-DB3C-546BBC432FD4}"/>
              </a:ext>
            </a:extLst>
          </p:cNvPr>
          <p:cNvSpPr txBox="1"/>
          <p:nvPr/>
        </p:nvSpPr>
        <p:spPr>
          <a:xfrm>
            <a:off x="275390" y="5982558"/>
            <a:ext cx="9624662" cy="334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</a:pPr>
            <a:endParaRPr lang="ru-RU" sz="1600" i="1" dirty="0">
              <a:solidFill>
                <a:srgbClr val="FF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328607" y="2781853"/>
            <a:ext cx="3640352" cy="28071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24" name="TextBox 23"/>
          <p:cNvSpPr txBox="1"/>
          <p:nvPr/>
        </p:nvSpPr>
        <p:spPr>
          <a:xfrm>
            <a:off x="5289069" y="2719222"/>
            <a:ext cx="2823883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ая закупка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965175" y="3094424"/>
            <a:ext cx="2642348" cy="423583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26" name="TextBox 25"/>
          <p:cNvSpPr txBox="1"/>
          <p:nvPr/>
        </p:nvSpPr>
        <p:spPr>
          <a:xfrm flipH="1">
            <a:off x="3371131" y="3150608"/>
            <a:ext cx="1917939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ва и более заказчика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7035894" y="3092319"/>
            <a:ext cx="2642348" cy="423583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28" name="TextBox 27"/>
          <p:cNvSpPr txBox="1"/>
          <p:nvPr/>
        </p:nvSpPr>
        <p:spPr>
          <a:xfrm flipH="1">
            <a:off x="7569549" y="3131657"/>
            <a:ext cx="1917939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дни и те же товары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884022" y="3868492"/>
            <a:ext cx="8292919" cy="79069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30" name="TextBox 29"/>
          <p:cNvSpPr txBox="1"/>
          <p:nvPr/>
        </p:nvSpPr>
        <p:spPr>
          <a:xfrm>
            <a:off x="1840855" y="3981700"/>
            <a:ext cx="8336083" cy="508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1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ку пшеничного разного сорта: высшего, первого и второго возможно объединить </a:t>
            </a:r>
            <a:r>
              <a:rPr lang="ru-RU" sz="135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совместной закупке, так как мука имеет родовой признак.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176033" y="4743095"/>
            <a:ext cx="4309847" cy="1211335"/>
          </a:xfrm>
          <a:prstGeom prst="roundRect">
            <a:avLst/>
          </a:prstGeom>
          <a:solidFill>
            <a:srgbClr val="FFC9C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1 </a:t>
            </a:r>
            <a:r>
              <a:rPr lang="ru-RU" sz="1400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Заказчик </a:t>
            </a:r>
            <a:r>
              <a:rPr lang="ru-RU" sz="14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endParaRPr lang="ru-RU" sz="1400" b="1" i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1400" b="1" i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14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ка пшеничная 50 кг          Мука ржаная 15 кг</a:t>
            </a:r>
          </a:p>
          <a:p>
            <a:pPr lvl="0"/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Мука кукурузная 35 кг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421539" y="3553981"/>
            <a:ext cx="3640352" cy="28071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33" name="TextBox 32"/>
          <p:cNvSpPr txBox="1"/>
          <p:nvPr/>
        </p:nvSpPr>
        <p:spPr>
          <a:xfrm>
            <a:off x="5407203" y="3577121"/>
            <a:ext cx="2823883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ким образом: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718660" y="4720788"/>
            <a:ext cx="4314497" cy="124677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1                               Заказчик 2 </a:t>
            </a:r>
          </a:p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ка ржаная 10 кг                 Мука ржаная 15 кг    </a:t>
            </a:r>
          </a:p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ка пшеничная 50 кг          Мука пшеничная 40 кг</a:t>
            </a:r>
          </a:p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ка кукурузная 30 кг          Мука кукурузная 35 кг</a:t>
            </a:r>
          </a:p>
          <a:p>
            <a:pPr algn="ctr"/>
            <a:endParaRPr lang="ru-RU" sz="135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8544" l="1944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962" y="6095960"/>
            <a:ext cx="597045" cy="683285"/>
          </a:xfrm>
          <a:prstGeom prst="rect">
            <a:avLst/>
          </a:prstGeom>
        </p:spPr>
      </p:pic>
      <p:pic>
        <p:nvPicPr>
          <p:cNvPr id="36" name="Picture 2" descr="Мультяшный красный крестик - 58 фот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2154" y="6143130"/>
            <a:ext cx="589305" cy="58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07893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48062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упки по части</a:t>
            </a:r>
            <a:r>
              <a:rPr lang="en-GB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1</a:t>
            </a: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 статьи</a:t>
            </a:r>
            <a:r>
              <a:rPr lang="en-GB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3 Закона № 44-ФЗ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96D5C6D-FBF5-BA75-18D9-E6025DDFDE8F}"/>
              </a:ext>
            </a:extLst>
          </p:cNvPr>
          <p:cNvSpPr/>
          <p:nvPr/>
        </p:nvSpPr>
        <p:spPr>
          <a:xfrm>
            <a:off x="222393" y="1317807"/>
            <a:ext cx="1151375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8" algn="just">
              <a:buClr>
                <a:srgbClr val="C30C3E"/>
              </a:buClr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чины отклонения от участия в закупках,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соответствующие требованиям Закона № 44-ФЗ:</a:t>
            </a:r>
          </a:p>
          <a:p>
            <a:pPr marL="14288" algn="just">
              <a:buClr>
                <a:srgbClr val="C30C3E"/>
              </a:buClr>
              <a:defRPr/>
            </a:pP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казание в предварительном предложении товарного знака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личного от указанного заказчиком</a:t>
            </a:r>
            <a:b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извещении;</a:t>
            </a: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казание в предварительном предложении места оказания услуг «Российская Федерация» вместо конкретного региона,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ответствующего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установленному заказчиком в извещении;</a:t>
            </a: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algn="just">
              <a:buClr>
                <a:srgbClr val="C30C3E"/>
              </a:buClr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ия Закона № 44-ФЗ при формировании проведении закупки:</a:t>
            </a:r>
          </a:p>
          <a:p>
            <a:pPr marL="14288" algn="just">
              <a:buClr>
                <a:srgbClr val="C30C3E"/>
              </a:buClr>
              <a:defRPr/>
            </a:pPr>
            <a:endParaRPr 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ие дополнительных характеристик товара</a:t>
            </a:r>
            <a:r>
              <a:rPr lang="en-GB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 предусмотренных позицией КТРУ.</a:t>
            </a:r>
          </a:p>
          <a:p>
            <a:pPr marL="14288" indent="438150" algn="just">
              <a:buClr>
                <a:srgbClr val="C30C3E"/>
              </a:buClr>
              <a:buFont typeface="Wingdings" pitchFamily="2" charset="2"/>
              <a:buChar char="v"/>
              <a:defRPr/>
            </a:pPr>
            <a:r>
              <a:rPr lang="ru-RU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установление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 неприменение «национального режима»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3554B0-4521-92B7-D2E4-8ACD7F45E0C5}"/>
              </a:ext>
            </a:extLst>
          </p:cNvPr>
          <p:cNvSpPr txBox="1"/>
          <p:nvPr/>
        </p:nvSpPr>
        <p:spPr>
          <a:xfrm>
            <a:off x="387591" y="5970822"/>
            <a:ext cx="11176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а ФАС России от </a:t>
            </a:r>
            <a:r>
              <a:rPr lang="en-GB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4.04.2024 №</a:t>
            </a: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И/28580/24</a:t>
            </a:r>
            <a:r>
              <a:rPr lang="en-GB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05</a:t>
            </a:r>
            <a:r>
              <a:rPr lang="en-US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0</a:t>
            </a: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US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02</a:t>
            </a: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ДФ/48449/24</a:t>
            </a:r>
            <a:endParaRPr lang="en-US" altLang="ru-RU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2217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0" y="0"/>
            <a:ext cx="5568619" cy="69214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F503607-D0B3-4FD3-B052-5C01C4B20D38}"/>
              </a:ext>
            </a:extLst>
          </p:cNvPr>
          <p:cNvSpPr txBox="1"/>
          <p:nvPr/>
        </p:nvSpPr>
        <p:spPr>
          <a:xfrm>
            <a:off x="263182" y="71109"/>
            <a:ext cx="11706423" cy="646330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R="6773" algn="ctr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правомерное заключение заказчиком контракта</a:t>
            </a:r>
            <a:b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 единственным поставщиком (подрядчиком, исполнителем)</a:t>
            </a: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Частью 1 статьи 93 Закона № 44-ФЗ установлен исчерпывающий перечень случаев, при которых заказчиком может осуществляться закупка у единственного поставщика (подрядчика, исполнителя).</a:t>
            </a: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В случаях, не предусмотренных таким перечнем, заказчик обязан осуществлять закупку с проведением конкурентных способов определения поставщика (подрядчика, исполнителя).</a:t>
            </a: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:</a:t>
            </a:r>
          </a:p>
          <a:p>
            <a:pPr algn="just"/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.</a:t>
            </a:r>
            <a:r>
              <a:rPr lang="en-US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6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.</a:t>
            </a:r>
            <a:r>
              <a:rPr lang="en-US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.</a:t>
            </a:r>
            <a:r>
              <a:rPr lang="en-GB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93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№ 44-ФЗ: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осуществлении закупки у единственного поставщика (подрядчика, исполнителя), определенного ФЗ,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казом или распоряжением Президента Российской Федерации, поручениями Президента Российской Федерации, постановлением или распоряжением Правительства Российской Федерации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 может быть заключен только при наличии вышеперечисленных актов.</a:t>
            </a:r>
          </a:p>
          <a:p>
            <a:pPr algn="just"/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.</a:t>
            </a:r>
            <a:r>
              <a:rPr lang="en-US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US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.</a:t>
            </a:r>
            <a:r>
              <a:rPr lang="en-US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.</a:t>
            </a:r>
            <a:r>
              <a:rPr lang="en-GB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93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№ 44-ФЗ: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</a:t>
            </a: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и критерия «оперативность» контракт не может быть заключен («…</a:t>
            </a:r>
            <a:r>
              <a:rPr lang="ru-RU" b="0" i="0" u="none" strike="noStrike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Times New Roman" panose="02020603050405020304" pitchFamily="18" charset="0"/>
              </a:rPr>
              <a:t>при необходимости оказания медицинской помощи в неотложной или экстренной форме…»)</a:t>
            </a:r>
          </a:p>
          <a:p>
            <a:pPr algn="just"/>
            <a:endParaRPr lang="ru-RU" dirty="0">
              <a:solidFill>
                <a:srgbClr val="000000"/>
              </a:solidFill>
              <a:highlight>
                <a:srgbClr val="FFFFFF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4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лечет за собой привлечение к ответственности по части 2 статьи 7.29 КоАП.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 flipV="1">
            <a:off x="222395" y="1246444"/>
            <a:ext cx="11673770" cy="31956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hape 332"/>
          <p:cNvSpPr/>
          <p:nvPr/>
        </p:nvSpPr>
        <p:spPr>
          <a:xfrm>
            <a:off x="189742" y="1458243"/>
            <a:ext cx="11575609" cy="122084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>
              <a:lnSpc>
                <a:spcPts val="2160"/>
              </a:lnSpc>
            </a:pPr>
            <a:endParaRPr sz="800" b="1" dirty="0">
              <a:latin typeface="Times New Roman"/>
              <a:ea typeface="Times New Roman"/>
              <a:cs typeface="Times New Roman"/>
            </a:endParaRPr>
          </a:p>
          <a:p>
            <a:pPr algn="just">
              <a:lnSpc>
                <a:spcPts val="2160"/>
              </a:lnSpc>
            </a:pPr>
            <a:endParaRPr lang="ru-RU" b="1" dirty="0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algn="just">
              <a:lnSpc>
                <a:spcPts val="2160"/>
              </a:lnSpc>
            </a:pPr>
            <a:endParaRPr lang="ru-RU" b="1" u="sng" dirty="0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>
              <a:lnSpc>
                <a:spcPts val="2160"/>
              </a:lnSpc>
            </a:pPr>
            <a:endParaRPr sz="1000" dirty="0">
              <a:latin typeface="Times New Roman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657411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48062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рядок действий заказчика при исполнении контрактов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152867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96D5C6D-FBF5-BA75-18D9-E6025DDFDE8F}"/>
              </a:ext>
            </a:extLst>
          </p:cNvPr>
          <p:cNvSpPr/>
          <p:nvPr/>
        </p:nvSpPr>
        <p:spPr>
          <a:xfrm>
            <a:off x="222393" y="1248799"/>
            <a:ext cx="1151375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формировании извещения об осуществлении закупки и графика выполнения работ заказчикам </a:t>
            </a:r>
            <a:r>
              <a:rPr lang="ru-RU" sz="20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есообразно устанавливать отдельные этапы выполнения работ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что позволит надлежащим образом осуществлять контроль и своевременно реагировать на недостатки, допущенные подрядчиком;</a:t>
            </a: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просрочки исполнения поставщиком (подрядчиком, исполнителем) обязательств</a:t>
            </a:r>
            <a:b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в том числе гарантийных), а также в иных случаях неисполнения или ненадлежащего исполнения поставщиком (подрядчиком, исполнителем) обязательств, заказчик должен направлять поставщику (подрядчику, исполнителю) требование об уплате неустоек (штрафов, пеней) в соответствии</a:t>
            </a:r>
            <a:b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частью 6 статьи 34 Закона № 44-ФЗ, а также вести претензионную работу;</a:t>
            </a: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оевременно осуществлять перечисления денежных средств, в том числе авансовых платежей,</a:t>
            </a:r>
            <a:b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роки и объеме, предусмотренные контрактом;</a:t>
            </a: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исполнение требований заказчика и </a:t>
            </a:r>
            <a:r>
              <a:rPr lang="ru-RU" sz="2000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устранение</a:t>
            </a: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рушений условий контракта является основанием для принятия заказчиком решения об одностороннем отказе от исполнения контракта</a:t>
            </a:r>
            <a:b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существенным нарушением поставщиком (подрядчиком, исполнителем) условий такого контракта.</a:t>
            </a:r>
          </a:p>
        </p:txBody>
      </p:sp>
    </p:spTree>
    <p:extLst>
      <p:ext uri="{BB962C8B-B14F-4D97-AF65-F5344CB8AC3E}">
        <p14:creationId xmlns:p14="http://schemas.microsoft.com/office/powerpoint/2010/main" val="12875338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217262" y="112266"/>
            <a:ext cx="11537825" cy="819882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5.07.2024 </a:t>
            </a: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елу №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4/104/104/242 </a:t>
            </a:r>
          </a:p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39300007522000176,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НП</a:t>
            </a:r>
            <a:r>
              <a:rPr lang="ru-RU" sz="24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lang="ru-RU" sz="2400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12131" y="932148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12131" y="1020342"/>
            <a:ext cx="11537825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едмет закупки: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ыполнение работ по строительству объектов теплоснабжения для обеспечения теплом потребителей сектора «Б» СТК «</a:t>
            </a:r>
            <a:r>
              <a:rPr lang="ru-RU" sz="15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ерегеш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» с техническим перевооружением существующего источника теплоснабжения – центральной котельной </a:t>
            </a:r>
            <a:r>
              <a:rPr lang="ru-RU" sz="15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гт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5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ерегеш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endParaRPr lang="ru-RU" sz="15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Цена контракта: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162 865 439,56 руб.</a:t>
            </a: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рок выполнения работ с учетом дополнительного соглашения: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12.12.2022 до 15.11.2024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452438" algn="just"/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зиция Заказчика: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рядчиком в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ные Контрактом сроки не устранялись выявленные Заказчиком в ходе исполнения Контракта нарушения, а также Работы велись настолько медленно, что окончание их к сроку, установленному Контрактом, становится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вно невозможным, в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язи с чем Заказчиком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8.07.2024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о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ено в ЕИС решение об одностороннем отказе от исполнения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а.</a:t>
            </a: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и Комиссии </a:t>
            </a:r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о: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исполнения Контракта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рядчиком выполнены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иняты и оплачены Заказчиком Работы на общую сумму 548 459 748,27 руб., что составляет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7,16 %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цены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а.</a:t>
            </a: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тоятельства дела: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троительство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теплоснабжения в рамках Контракта производится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я теплом потребителей сектора «Б» СТК «</a:t>
            </a:r>
            <a:r>
              <a:rPr lang="ru-RU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ерегеш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. Потребителем энергии с данной теплотрассы является ООО «</a:t>
            </a:r>
            <a:r>
              <a:rPr lang="ru-RU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леден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вест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яющее постройку сети отелей «</a:t>
            </a:r>
            <a:r>
              <a:rPr lang="ru-RU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zimut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, однако на данной территории строительство не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чато. Кроме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го,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оронами Контракта, Минстроем России, Минэкономразвития России состоялось совещание, в ходе которого сообщалось о невозможности ввода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сплуатацию объекта Контракта без наличия потребителя, а также даны рекомендации о переносе финансирования на 2026 год.</a:t>
            </a:r>
          </a:p>
          <a:p>
            <a:pPr algn="just"/>
            <a:endParaRPr lang="ru-RU" sz="1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абзацу пятому подпункта «а» пункта 15 Правил орган контроля принимает решение об отказе во включении информации о поставщике (подрядчике, исполнителе) в реестр, если в результате проведения проверки, поставщиком (подрядчиком, исполнителем) представлены информация и документы, подтверждающие принятие им мер для надлежащего исполнения условий Контракта.</a:t>
            </a: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ании предоставленных документов и сведений, Комиссия приходит к выводу, что подрядчик принимал меры, направленные  на надлежащее исполнение условий Контракта, </a:t>
            </a:r>
            <a:r>
              <a:rPr lang="ru-RU" sz="1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чем информация о подрядчике не подлежит включению в Реестр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22289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07002" y="348062"/>
            <a:ext cx="11537825" cy="535189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рядок действий заказчика при расторжении контрактов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152867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13554B0-4521-92B7-D2E4-8ACD7F45E0C5}"/>
              </a:ext>
            </a:extLst>
          </p:cNvPr>
          <p:cNvSpPr txBox="1"/>
          <p:nvPr/>
        </p:nvSpPr>
        <p:spPr>
          <a:xfrm>
            <a:off x="207002" y="5776915"/>
            <a:ext cx="11804409" cy="851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а ФАС России от 20.06.2023 № 28/48440/23,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т 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3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0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2024 № ПИ/</a:t>
            </a:r>
            <a:r>
              <a:rPr lang="en-US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5002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/24; от 21.11.2022 № ПИ/10547/22;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а Минфина России от 17.06.2020 № 24-03-07/51940, от 03.03.2023 № 24-06-06/17938, от 21.07.2023 № 24-03-08/68564;</a:t>
            </a: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тановление АС МО от 24.11.2023 № А40-81279/23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27087" y="1155815"/>
            <a:ext cx="11537825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принятия решения об одностороннем отказе от исполнения контракта (в том числе</a:t>
            </a:r>
            <a:b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унктам 4, 5 части 1 статьи 93 Закона № 44-ФЗ, Закону № 46-ФЗ), </a:t>
            </a:r>
            <a:r>
              <a:rPr lang="ru-RU" altLang="ru-RU" sz="20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направляет</a:t>
            </a:r>
            <a:br>
              <a:rPr lang="ru-RU" altLang="ru-RU" sz="20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контрольной орган в сфере закупок обращение о включении информации</a:t>
            </a:r>
            <a:b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оставщике (подрядчике, исполнителе) в РНП.</a:t>
            </a: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endParaRPr lang="ru-RU" altLang="ru-RU" sz="2000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расторжения контракта по соглашению сторон – </a:t>
            </a:r>
            <a:r>
              <a:rPr lang="ru-RU" altLang="ru-RU" sz="20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е</a:t>
            </a: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ФАС России сведений</a:t>
            </a:r>
            <a:b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включении информации о поставщике (подрядчике, исполнителе) в РНП </a:t>
            </a:r>
            <a:r>
              <a:rPr lang="ru-RU" altLang="ru-RU" sz="20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предусмотрено</a:t>
            </a: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14288" algn="just">
              <a:buClr>
                <a:srgbClr val="C30C3E"/>
              </a:buClr>
              <a:defRPr/>
            </a:pPr>
            <a:r>
              <a:rPr lang="ru-RU" altLang="ru-RU" sz="2000" b="1" i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 основания для заключения контракта со 2-ым участником закупки - отсутствуют.</a:t>
            </a:r>
          </a:p>
          <a:p>
            <a:pPr marL="14288" algn="just">
              <a:buClr>
                <a:srgbClr val="C30C3E"/>
              </a:buClr>
              <a:defRPr/>
            </a:pPr>
            <a:endParaRPr lang="ru-RU" altLang="ru-RU" sz="2000" b="1" i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7188" indent="-342900" algn="just">
              <a:buClr>
                <a:srgbClr val="C30C3E"/>
              </a:buClr>
              <a:buFont typeface="Wingdings" panose="05000000000000000000" pitchFamily="2" charset="2"/>
              <a:buChar char="v"/>
              <a:defRPr/>
            </a:pP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расторжения контракта на основании подпункта «б» пункта 1 части 15 статьи 95</a:t>
            </a:r>
            <a:b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№ 44-ФЗ – заказчик направляет обращение в антимонопольный орган, а ФАС России – имеет полномочия по </a:t>
            </a:r>
            <a:r>
              <a:rPr lang="ru-RU" altLang="ru-RU" sz="20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несению в РНП </a:t>
            </a: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й о поставщике (подрядчике, исполнителе), предоставившем недостоверные сведений для участия в конкурсе, поскольку факт совершения такого </a:t>
            </a:r>
            <a:r>
              <a:rPr lang="ru-RU" altLang="ru-RU" sz="20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йствия </a:t>
            </a:r>
            <a:r>
              <a:rPr lang="ru-RU" altLang="ru-RU" sz="20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существенным нарушением обязательств по контракту ввиду его неисполнения.</a:t>
            </a:r>
          </a:p>
        </p:txBody>
      </p:sp>
    </p:spTree>
    <p:extLst>
      <p:ext uri="{BB962C8B-B14F-4D97-AF65-F5344CB8AC3E}">
        <p14:creationId xmlns:p14="http://schemas.microsoft.com/office/powerpoint/2010/main" val="29102724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85" name="object 17"/>
          <p:cNvSpPr txBox="1">
            <a:spLocks/>
          </p:cNvSpPr>
          <p:nvPr/>
        </p:nvSpPr>
        <p:spPr>
          <a:xfrm>
            <a:off x="217262" y="112266"/>
            <a:ext cx="11537825" cy="819882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</a:t>
            </a:r>
            <a:r>
              <a:rPr lang="en-US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9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08.2024 </a:t>
            </a: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елу №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4/104/104/284  </a:t>
            </a:r>
          </a:p>
          <a:p>
            <a:pPr marR="6773">
              <a:spcBef>
                <a:spcPts val="333"/>
              </a:spcBef>
            </a:pPr>
            <a:r>
              <a:rPr lang="ru-RU" sz="24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0187100000223000001, </a:t>
            </a:r>
            <a:r>
              <a:rPr lang="ru-RU" sz="24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НП</a:t>
            </a:r>
            <a:r>
              <a:rPr lang="ru-RU" sz="24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)</a:t>
            </a:r>
            <a:endParaRPr lang="ru-RU" sz="2400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12131" y="932148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12131" y="1020342"/>
            <a:ext cx="1153782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едмет закупки: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ыполнение работ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троительству объекта: «Административное здание ИФНС России по г.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ургуту»</a:t>
            </a:r>
          </a:p>
          <a:p>
            <a:pPr indent="452438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Цена контракта: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949 500 000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уб.</a:t>
            </a:r>
          </a:p>
          <a:p>
            <a:pPr indent="452438" algn="just"/>
            <a:endParaRPr lang="ru-RU" sz="15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астью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статьи 1 Закона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44-ФЗ установлено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что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44-ФЗ регулирует отношения, направленные на обеспечение государственных и муниципальных нужд в целях повышения эффективности, результативности осуществления закупок товаров, работ, услуг, обеспечения гласности и прозрачности осуществления таких закупок, предотвращения коррупции и других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лоупотреблений</a:t>
            </a:r>
            <a:b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фере таких закупок.</a:t>
            </a: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тье 6 Закона № 44-ФЗ контрактная система в сфере закупок основывается на принципах открытости, прозрачности информации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ной системе в сфере закупок, обеспечения конкуренции, профессионализма заказчиков, стимулирования инноваций, единства контрактной системы в сфере закупок, </a:t>
            </a:r>
            <a:r>
              <a:rPr lang="ru-RU" sz="15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ости за результативность обеспечения </a:t>
            </a:r>
            <a:r>
              <a:rPr lang="ru-RU" sz="15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ых</a:t>
            </a:r>
            <a:br>
              <a:rPr lang="ru-RU" sz="15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5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5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нужд, эффективности осуществления </a:t>
            </a:r>
            <a:r>
              <a:rPr lang="ru-RU" sz="15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ок.</a:t>
            </a: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том реестр недобросовестных поставщиков (подрядчиков, исполнителей) служит инструментом, обеспечивающим реализацию целей регулирования отношений, определенных в части 1 статьи 1 Закона №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-ФЗ,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, является механизмом защиты государственных и муниципальных заказчиков от недобросовестных действий поставщиков (исполнителей, подрядчиков).</a:t>
            </a:r>
          </a:p>
          <a:p>
            <a:pPr indent="449263" algn="just"/>
            <a:r>
              <a:rPr lang="ru-RU" sz="15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5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е расторжения Контракта цель закупки, которая изначально ставилась Заказчиком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 именно выполнение строительно-монтажных работ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у административного здания в Ханты-Мансийском автономном округе – Югры, </a:t>
            </a:r>
            <a:r>
              <a:rPr lang="ru-RU" sz="15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достигнута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государственные нужды, являющиеся объектом закупки, не удовлетворены. </a:t>
            </a:r>
            <a:r>
              <a:rPr lang="ru-RU" sz="15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 поводом для расторжения Контракта послужили недобросовестные действия ООО «ПАРК ИНВЕСТ», предоставившего недостоверную информацию о своем соответствии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ям статьи 31 Закона №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-ФЗ,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 позволило ему стать победителем Аукциона,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ам которого заключен Контракт.</a:t>
            </a:r>
          </a:p>
          <a:p>
            <a:pPr indent="449263" algn="just"/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явление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акта предоставления ООО «ПАРК ИНВЕСТ» недостоверной информации о своем соответствии порождает обязанность Заказчика в силу требований, установленных подпунктом «б» пункта 1 части 15 статьи 95 Закона №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-ФЗ,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ять решение об одностороннем отказе 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я Контракта и приводит к </a:t>
            </a:r>
            <a:r>
              <a:rPr lang="ru-RU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ижению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цели осуществляемой закупочной процедуры и неисполнению Контракта по вине ООО «ПАРК ИНВЕСТ</a:t>
            </a:r>
            <a:r>
              <a:rPr lang="ru-RU" sz="1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pPr indent="449263" algn="just"/>
            <a:r>
              <a:rPr lang="ru-RU" sz="15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шение </a:t>
            </a:r>
            <a:r>
              <a:rPr lang="ru-RU" sz="15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омиссии: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ключить информацию об обществе в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естр сроком на 2 (два)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да.</a:t>
            </a:r>
            <a:endParaRPr lang="ru-RU" sz="15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7171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7C3CBA7-5F64-1020-B62D-0971FD045A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B8880E0-AD41-E982-DACF-BB3CE3067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CAA9E6-47E4-48C4-9A09-8E3CD6CB640B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4134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/>
          <p:nvPr/>
        </p:nvSpPr>
        <p:spPr>
          <a:xfrm flipV="1">
            <a:off x="189394" y="1769633"/>
            <a:ext cx="11673771" cy="31955"/>
          </a:xfrm>
          <a:prstGeom prst="line">
            <a:avLst/>
          </a:prstGeom>
          <a:ln w="38100">
            <a:solidFill>
              <a:srgbClr val="007E88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85" name="Shape 85"/>
          <p:cNvSpPr/>
          <p:nvPr/>
        </p:nvSpPr>
        <p:spPr>
          <a:xfrm>
            <a:off x="189744" y="1411351"/>
            <a:ext cx="11575609" cy="122084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marL="0" indent="0" algn="l">
              <a:lnSpc>
                <a:spcPts val="2160"/>
              </a:lnSpc>
            </a:pPr>
            <a:endParaRPr sz="800" b="1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just">
              <a:lnSpc>
                <a:spcPts val="2160"/>
              </a:lnSpc>
            </a:pPr>
            <a:endParaRPr sz="1800" b="1" u="sng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  <a:p>
            <a:pPr marL="0" indent="0" algn="l">
              <a:lnSpc>
                <a:spcPts val="2160"/>
              </a:lnSpc>
            </a:pPr>
            <a:endParaRPr sz="1000">
              <a:solidFill>
                <a:schemeClr val="tx1"/>
              </a:solidFill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86" name="Shape 86"/>
          <p:cNvSpPr txBox="1"/>
          <p:nvPr/>
        </p:nvSpPr>
        <p:spPr>
          <a:xfrm>
            <a:off x="-225670" y="5854163"/>
            <a:ext cx="12261180" cy="36818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/>
          <a:lstStyle>
            <a:defPPr/>
            <a:lvl1pPr marL="0" lvl="0"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indent="0" algn="ctr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sz="1600" b="1" i="1">
              <a:solidFill>
                <a:srgbClr val="FF0000"/>
              </a:solidFill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" y="-23446"/>
            <a:ext cx="5568619" cy="6921421"/>
          </a:xfrm>
          <a:prstGeom prst="rect">
            <a:avLst/>
          </a:prstGeom>
        </p:spPr>
      </p:pic>
      <p:sp>
        <p:nvSpPr>
          <p:cNvPr id="83" name="Shape 83"/>
          <p:cNvSpPr txBox="1"/>
          <p:nvPr/>
        </p:nvSpPr>
        <p:spPr>
          <a:xfrm>
            <a:off x="189394" y="253165"/>
            <a:ext cx="11845767" cy="3947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/>
            <a:lvl1pPr marL="0" lvl="0" indent="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1pPr>
            <a:lvl2pPr marL="742950" lvl="1" indent="-28575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2pPr>
            <a:lvl3pPr marL="1143000" lvl="2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3pPr>
            <a:lvl4pPr marL="1600200" lvl="3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4pPr>
            <a:lvl5pPr marL="2057400" lvl="4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5pPr>
            <a:lvl6pPr marL="2514600" lvl="5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6pPr>
            <a:lvl7pPr marL="2971800" lvl="6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7pPr>
            <a:lvl8pPr marL="3429000" lvl="7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8pPr>
            <a:lvl9pPr marL="3886200" lvl="8" indent="-228600" algn="l">
              <a:defRPr sz="180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lvl9pPr>
          </a:lstStyle>
          <a:p>
            <a:pPr algn="just">
              <a:lnSpc>
                <a:spcPct val="105000"/>
              </a:lnSpc>
              <a:spcAft>
                <a:spcPts val="800"/>
              </a:spcAft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4474" y="246525"/>
            <a:ext cx="114300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ие требования в извещении об осуществлении закупки</a:t>
            </a:r>
            <a:b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 выполнение авиационных работ о наличии у участника закупки</a:t>
            </a:r>
            <a:b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о предоставлении в составе заявки сертификата эксплуатанта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9394" y="1785611"/>
            <a:ext cx="11605082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538163" algn="just"/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9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ксплуатант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гражданин или юридическое лицо, имеющие воздушное судно на праве собственности, на условиях аренды или на ином законном основании, использующие указанное воздушное судно для полетов и имеющие сертификат (свидетельство) </a:t>
            </a:r>
            <a:r>
              <a:rPr lang="ru-RU" sz="19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ксплуатанта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538163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Порядок выполнения работ с целью оказания медицинской помощи определяют Федеральные авиационные правила, утвержденные приказом Минтранса России от 19.11.2020 № 494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далее – Правила).</a:t>
            </a:r>
          </a:p>
          <a:p>
            <a:pPr indent="538163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Для получения сертификата эксплуатанта на выполнение авиационных работ (работ с целью оказания медицинской помощи) необходимо пройти процедуру подтверждения соответствия требованиям Правил</a:t>
            </a:r>
            <a:r>
              <a:rPr lang="en-GB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GB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требованиями главы III Правил в уполномоченном органе</a:t>
            </a:r>
            <a:r>
              <a:rPr lang="en-GB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бласти гражданской авиации. </a:t>
            </a:r>
          </a:p>
          <a:p>
            <a:pPr indent="538163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9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ксплуатант</a:t>
            </a: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 должен использовать воздушные суда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бладающие сертификатом летной годности, выданным на основании акта оценки воздушного судна на его соответствие требованиям к летной годности</a:t>
            </a:r>
            <a:r>
              <a:rPr lang="en-GB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GB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к охране окружающей среды, </a:t>
            </a: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выполнении авиационных работ, предусматривающих нахождение</a:t>
            </a:r>
            <a:b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борту лиц, не входящих в состав экипажа воздушного судна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indent="538163" algn="just"/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Таким образом, выполнение авиационных работ </a:t>
            </a:r>
            <a:r>
              <a:rPr lang="ru-RU" sz="19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ез сертификата эксплуатанта</a:t>
            </a: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ыданного</a:t>
            </a:r>
            <a:b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авилами, </a:t>
            </a:r>
            <a:r>
              <a:rPr lang="ru-RU" sz="19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прещено</a:t>
            </a:r>
            <a:r>
              <a:rPr lang="ru-RU" sz="1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F789B8-1EB8-328A-B4DC-864B7A5D50B8}"/>
              </a:ext>
            </a:extLst>
          </p:cNvPr>
          <p:cNvSpPr txBox="1"/>
          <p:nvPr/>
        </p:nvSpPr>
        <p:spPr>
          <a:xfrm>
            <a:off x="425696" y="6034639"/>
            <a:ext cx="8866350" cy="6093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а ФАС России от 09.07.2024 № ПИ/60348/24, от 31.07.2024 №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/67897/24;</a:t>
            </a:r>
            <a:endParaRPr lang="ru-RU" sz="1600" i="1" dirty="0">
              <a:solidFill>
                <a:srgbClr val="FF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исьмо Минтранса России от 05.07.2024 № Д1/19785-ИС</a:t>
            </a:r>
          </a:p>
        </p:txBody>
      </p:sp>
    </p:spTree>
    <p:extLst>
      <p:ext uri="{BB962C8B-B14F-4D97-AF65-F5344CB8AC3E}">
        <p14:creationId xmlns:p14="http://schemas.microsoft.com/office/powerpoint/2010/main" val="2634554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141030" y="-22033"/>
            <a:ext cx="11537825" cy="1597018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исьмо ФАС России от 29.12.2023 года № МШ/112518/23 </a:t>
            </a:r>
          </a:p>
          <a:p>
            <a:pPr marR="6773">
              <a:spcBef>
                <a:spcPts val="333"/>
              </a:spcBef>
            </a:pPr>
            <a:r>
              <a:rPr lang="ru-RU" sz="32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в части порядка рассмотрения жалоб, поступающих от лиц, не имеющих специальной правоспособности)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554271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41912" y="1616558"/>
            <a:ext cx="11423439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илу части 1 статьи 105 Закона № 44-ФЗ условием для подачи жалобы согласно Закону № 44-ФЗ является наличие</a:t>
            </a:r>
            <a:b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 участника закупки прав и законных интересов, которые при осуществлении закупки нарушены действиями (бездействием) субъекта контроля.</a:t>
            </a:r>
          </a:p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ях, предусмотренных Законом № 44-ФЗ, участник закупки может заниматься отдельными видами деятельности только на основании специального разрешения (лицензии) или при наличии членства в саморегулируемой организации (далее - Специальная правоспособность).</a:t>
            </a:r>
          </a:p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а и законные интересы участника закупки, не обладающего соответствующей Специальной правоспособностью, не могут быть нарушены действиями (бездействием) субъекта контроля (в случае установления в закупке Специальной правоспособности).</a:t>
            </a:r>
          </a:p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, если жалоба подается на положения извещения об осуществлении закупки, в которой установлено требование в соответствии с частью 2 статьи 31 Закона № 44-ФЗ, то условием для подачи жалобы является наличие у заявителя опыта, предусмотренного ПП РФ № 2571.</a:t>
            </a:r>
          </a:p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месте с тем в случае, если в жалобе участника закупки содержатся доводы относительно неправомерного установления заказчиком вышеуказанных требований к участникам закупки, и контрольным органом в сфере закупок выявлены признаки неправомерного установления заказчиком таких требований, то такая жалоба подлежит рассмотрению в порядке, установленном главой 6 Закона о контрактной системе.</a:t>
            </a:r>
          </a:p>
          <a:p>
            <a:pPr indent="358775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 если поданная заявителем жалоба содержит информацию, свидетельствующую о наличии нарушения законодательства Российской Федерации о контрактной системе в сфере закупок в действиях субъектов контроля, или сотрудниками территориальных органов ФАС России самостоятельно установлены такие признаки в рамках анализа закупки, указанной в жалобе, данная информация является основанием для проведения внеплановой проверки в соответствии с положениями пункта 2 части 15 статьи 99 Закона № 44-ФЗ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3444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22395" y="204041"/>
            <a:ext cx="11537825" cy="904521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ФАС России от </a:t>
            </a:r>
            <a:r>
              <a:rPr lang="ru-RU" sz="28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9.06.2024 </a:t>
            </a: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делу № 28/06/105-1538/2024  </a:t>
            </a:r>
            <a:r>
              <a:rPr lang="ru-RU" sz="28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</a:t>
            </a:r>
            <a:r>
              <a:rPr lang="ru-RU" sz="2800" dirty="0" err="1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еустановление</a:t>
            </a:r>
            <a:r>
              <a:rPr lang="ru-RU" sz="2800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дополнительных требований)</a:t>
            </a:r>
            <a:endParaRPr lang="ru-RU" sz="2800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22394" y="1393424"/>
            <a:ext cx="1153782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 algn="just"/>
            <a:r>
              <a:rPr lang="ru-RU" alt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мет закупки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выполнение работ по текущему ремонту помещений 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МЦК 7 246 760 руб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452438" algn="just"/>
            <a:r>
              <a:rPr lang="ru-RU" alt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вод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Заказчиком </a:t>
            </a:r>
            <a:r>
              <a:rPr lang="ru-RU" alt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правомерно не установлены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вещении </a:t>
            </a:r>
            <a:r>
              <a:rPr lang="ru-RU" altLang="ru-RU" sz="16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требовани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 к участникам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</a:t>
            </a:r>
            <a:b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и с позицией 15 приложения 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452438" algn="just"/>
            <a:r>
              <a:rPr lang="ru-RU" alt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ть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В соответствии с позицией 15 приложения 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и работ по текущему ремонту зданий, сооружений, установлено дополнительное требование о наличии у участника закупки следующего опыта выполнения работ: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опыт исполнения договора, предусматривающего выполнение работ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кущему ремонту зданий, сооружений;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опыт исполнения договора, предусматривающего выполнение работ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ому ремонту объекта капитального строительства.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 подтверждением соответствия вышеуказанному дополнительному требованию является: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исполненный договор;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акт выполненных работ, подтверждающий цену выполненных работ.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заседании Комиссии установлено, что объектом закупки является выполнение работ по текущему ремонту помещений суда, при этом начальная (максимальная) цена контракта составляет 7 246 760 руб.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месте с тем абзацем четвертым подпункта «а» пункта 3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лено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что положени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няются при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и конкурентных способов определения поставщиков (подрядчиков, исполнителей), при этом позиции 14, 15 и 36 приложения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няются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, если при осуществлении закупки начальная (максимальная) цена контракта превышает 1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</a:p>
          <a:p>
            <a:pPr indent="452438" algn="just"/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итывая изложенное, Комиссия приходит к выводу, что действия Заказчика, не установившего в Извещении дополнительные требования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ам закупки в соответствии с позицией 15 приложения 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 РФ № 2571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нарушают</a:t>
            </a:r>
            <a:b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 части 1 статьи 42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№ 44-ФЗ</a:t>
            </a:r>
            <a:r>
              <a:rPr lang="ru-RU" alt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alt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7613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222395" y="111068"/>
            <a:ext cx="11537825" cy="1119964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акой контракт считается исполненным и может быть учтен</a:t>
            </a:r>
            <a:b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качестве подтверждения наличия опыта и соответствия дополнительным требованиям?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22394" y="1321837"/>
            <a:ext cx="11537825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algn="just"/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>
              <a:buFontTx/>
              <a:buChar char="-"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торгнутый по соглашению сторон и оформленный в установленном законом порядке;</a:t>
            </a:r>
          </a:p>
          <a:p>
            <a:pPr marL="9525" indent="442913" algn="just">
              <a:buFontTx/>
              <a:buChar char="-"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определенным позициям ПП РФ № 2571 + по пункту 4 ПП РФ № 2571 только контракт (договор), заключенный в соответствии с Законом № 44-ФЗ или с Законом № 223-ФЗ;</a:t>
            </a:r>
          </a:p>
          <a:p>
            <a:pPr marL="9525" indent="442913" algn="just">
              <a:buFontTx/>
              <a:buChar char="-"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в   реестре   контрактов   информации о контракте со статусом «Исполнение», а также неразмещение в реестре контрактов необходимых документов,  </a:t>
            </a:r>
            <a:r>
              <a:rPr lang="ru-RU" altLang="ru-RU" sz="2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свидетельствует об отсутствии</a:t>
            </a:r>
            <a:br>
              <a:rPr lang="ru-RU" altLang="ru-RU" sz="2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 участника закупки требуемого опыта</a:t>
            </a: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ыполнения работ (поставки товара, оказания услуг)                      при наличии в составе заявки  полного перечня документов, установленных соответствующей позицией ПП РФ № 2571;</a:t>
            </a:r>
          </a:p>
          <a:p>
            <a:pPr marL="9525" indent="442913" algn="just">
              <a:buFontTx/>
              <a:buChar char="-"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ли было изменение цены контракта (договора) должно быть предоставлено дополнительное соглашение.</a:t>
            </a:r>
          </a:p>
          <a:p>
            <a:pPr marL="9525" algn="just"/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/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Минфина России от 19.06.2023 № 24-06-09/56379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а ФАС России от 16.12.2022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ПИ/113547/22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т 29.09.2022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28/90098/22</a:t>
            </a:r>
            <a:r>
              <a:rPr lang="en-GB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11</a:t>
            </a:r>
            <a:r>
              <a:rPr lang="en-US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01.2024 </a:t>
            </a:r>
            <a:r>
              <a:rPr lang="ru-RU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МШ/875/24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ФАС России от 16.09.2022 по делу № 22/44/99/207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ВС РФ от 28.10.2019 № 301-ЭС19-18955, решение АС Ставропольского края № </a:t>
            </a: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63-7609/22,</a:t>
            </a:r>
            <a:b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</a:t>
            </a: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 г. М № А40-3611/22</a:t>
            </a:r>
          </a:p>
        </p:txBody>
      </p:sp>
    </p:spTree>
    <p:extLst>
      <p:ext uri="{BB962C8B-B14F-4D97-AF65-F5344CB8AC3E}">
        <p14:creationId xmlns:p14="http://schemas.microsoft.com/office/powerpoint/2010/main" val="734133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82348" y="277530"/>
            <a:ext cx="11537825" cy="473634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spcBef>
                <a:spcPts val="333"/>
              </a:spcBef>
            </a:pPr>
            <a:r>
              <a:rPr lang="ru-RU" sz="2800" b="1" dirty="0" smtClean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мер контракта со статусом «Исполнение»</a:t>
            </a:r>
            <a:endParaRPr lang="ru-RU" sz="2800" b="1" dirty="0">
              <a:solidFill>
                <a:srgbClr val="05596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154662" y="985844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9992" y="-190888"/>
            <a:ext cx="5568619" cy="692142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7737" y="1258928"/>
            <a:ext cx="9821863" cy="5460987"/>
          </a:xfrm>
          <a:prstGeom prst="rect">
            <a:avLst/>
          </a:prstGeom>
        </p:spPr>
      </p:pic>
      <p:sp>
        <p:nvSpPr>
          <p:cNvPr id="3" name="Стрелка вправо 2"/>
          <p:cNvSpPr/>
          <p:nvPr/>
        </p:nvSpPr>
        <p:spPr>
          <a:xfrm>
            <a:off x="702733" y="5909734"/>
            <a:ext cx="978408" cy="484632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право 8"/>
          <p:cNvSpPr/>
          <p:nvPr/>
        </p:nvSpPr>
        <p:spPr>
          <a:xfrm>
            <a:off x="702733" y="4732867"/>
            <a:ext cx="978408" cy="484632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Штриховая стрелка вправо 7"/>
          <p:cNvSpPr/>
          <p:nvPr/>
        </p:nvSpPr>
        <p:spPr>
          <a:xfrm rot="9778666">
            <a:off x="5598577" y="1005994"/>
            <a:ext cx="1562668" cy="484632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1012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17"/>
          <p:cNvSpPr txBox="1">
            <a:spLocks/>
          </p:cNvSpPr>
          <p:nvPr/>
        </p:nvSpPr>
        <p:spPr>
          <a:xfrm>
            <a:off x="94005" y="413797"/>
            <a:ext cx="11921382" cy="781410"/>
          </a:xfrm>
          <a:prstGeom prst="rect">
            <a:avLst/>
          </a:prstGeom>
        </p:spPr>
        <p:txBody>
          <a:bodyPr vert="horz" wrap="square" lIns="0" tIns="42333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6773">
              <a:lnSpc>
                <a:spcPts val="2800"/>
              </a:lnSpc>
              <a:spcBef>
                <a:spcPts val="333"/>
              </a:spcBef>
            </a:pPr>
            <a:r>
              <a:rPr lang="ru-RU" sz="2800" b="1" dirty="0">
                <a:solidFill>
                  <a:srgbClr val="05596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жно ли представить договор субподряда в качестве подтверждения опыта выполнения СМР?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BAA234D6-DB20-4671-BED7-2B3A16130187}"/>
              </a:ext>
            </a:extLst>
          </p:cNvPr>
          <p:cNvCxnSpPr>
            <a:cxnSpLocks/>
          </p:cNvCxnSpPr>
          <p:nvPr/>
        </p:nvCxnSpPr>
        <p:spPr>
          <a:xfrm>
            <a:off x="222395" y="1316765"/>
            <a:ext cx="11542956" cy="0"/>
          </a:xfrm>
          <a:prstGeom prst="line">
            <a:avLst/>
          </a:prstGeom>
          <a:ln w="38100">
            <a:solidFill>
              <a:srgbClr val="007E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0B3DA59-0767-5210-0FCC-80917A9E30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-53058" y="-80821"/>
            <a:ext cx="5568619" cy="692142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22394" y="1689825"/>
            <a:ext cx="11537825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indent="442913" algn="just"/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АС России отмечает, что дополнительные требования устанавливаются непосредственно </a:t>
            </a:r>
            <a:r>
              <a:rPr lang="ru-RU" altLang="ru-RU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участникам закупки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ледовательно, документы и информация, предусмотренные приложением к ПП РФ № 2571, должны быть представлены </a:t>
            </a:r>
            <a:r>
              <a:rPr lang="ru-RU" altLang="ru-RU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ительно в отношении участника закупки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 связи с чем представление участником закупки документов и информации об опыте иных лиц, в том числе субподрядчиков, не соответствует требованиям положений ПП РФ № 2571.</a:t>
            </a:r>
          </a:p>
          <a:p>
            <a:pPr marL="9525" indent="442913" algn="just"/>
            <a:endParaRPr lang="ru-RU" alt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/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оме того, договор субподряда на выполнение работ не может служить подтверждением соответствия общества дополнительным требованиям, поскольку: </a:t>
            </a:r>
          </a:p>
          <a:p>
            <a:pPr marL="9525" indent="442913" algn="just">
              <a:buAutoNum type="arabicParenR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кое общество выполняло лишь часть работ в рамках иного контракта;</a:t>
            </a:r>
          </a:p>
          <a:p>
            <a:pPr marL="9525" indent="442913" algn="just">
              <a:buAutoNum type="arabicParenR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участвовало в рабочей и приемочной комиссиях при сдаче объекта заказчику по государственному контракту, во вводе объекта в эксплуатацию;</a:t>
            </a:r>
          </a:p>
          <a:p>
            <a:pPr marL="9525" indent="442913" algn="just">
              <a:buAutoNum type="arabicParenR"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несло гарантийных обязательств по выполненным работам.</a:t>
            </a:r>
          </a:p>
          <a:p>
            <a:pPr marL="9525" indent="442913" algn="just">
              <a:buAutoNum type="arabicParenR"/>
            </a:pPr>
            <a:endParaRPr lang="ru-RU" alt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>
              <a:buAutoNum type="arabicParenR"/>
            </a:pPr>
            <a:endParaRPr lang="ru-RU" altLang="ru-RU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я ВС РФ от 09.09.2022 № 309-ЭС22-15395, от 19.07.2021 № 304-ЭС21-10656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Минфина </a:t>
            </a:r>
            <a:r>
              <a:rPr lang="ru-RU" altLang="ru-RU" sz="1600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и от </a:t>
            </a: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5.04.2023 № 24-06-07/30291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ФАС России от 11</a:t>
            </a:r>
            <a:r>
              <a:rPr lang="en-US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01.2024 </a:t>
            </a:r>
            <a:r>
              <a:rPr lang="ru-RU" alt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МШ/875/24;</a:t>
            </a:r>
          </a:p>
          <a:p>
            <a:pPr marL="9525" indent="442913" algn="just"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ФАС России от 25.07.2023 по делу № 28/06/105-1716/2023</a:t>
            </a:r>
          </a:p>
        </p:txBody>
      </p:sp>
    </p:spTree>
    <p:extLst>
      <p:ext uri="{BB962C8B-B14F-4D97-AF65-F5344CB8AC3E}">
        <p14:creationId xmlns:p14="http://schemas.microsoft.com/office/powerpoint/2010/main" val="34361569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2.43900000000000005684E+00&quot;&gt;&lt;m_msothmcolidx val=&quot;0&quot;/&gt;&lt;m_rgb r=&quot;00&quot; g=&quot;00&quot; b=&quot;80&quot;/&gt;&lt;/elem&gt;&lt;elem m_fUsage=&quot;1.00000000000000000000E+00&quot;&gt;&lt;m_msothmcolidx val=&quot;0&quot;/&gt;&lt;m_rgb r=&quot;00&quot; g=&quot;B0&quot; b=&quot;F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12</TotalTime>
  <Words>3118</Words>
  <Application>Microsoft Office PowerPoint</Application>
  <PresentationFormat>Широкоэкранный</PresentationFormat>
  <Paragraphs>336</Paragraphs>
  <Slides>37</Slides>
  <Notes>3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47" baseType="lpstr">
      <vt:lpstr>Arial</vt:lpstr>
      <vt:lpstr>Calibri</vt:lpstr>
      <vt:lpstr>Calibri Light</vt:lpstr>
      <vt:lpstr>Myriad Pro</vt:lpstr>
      <vt:lpstr>Open Sans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катерина Дмитриевна Прокофьева</dc:creator>
  <cp:lastModifiedBy>User-22-12</cp:lastModifiedBy>
  <cp:revision>594</cp:revision>
  <cp:lastPrinted>2022-08-16T14:57:58Z</cp:lastPrinted>
  <dcterms:created xsi:type="dcterms:W3CDTF">2020-03-12T08:06:17Z</dcterms:created>
  <dcterms:modified xsi:type="dcterms:W3CDTF">2024-10-18T13:32:57Z</dcterms:modified>
</cp:coreProperties>
</file>